
<file path=[Content_Types].xml><?xml version="1.0" encoding="utf-8"?>
<Types xmlns="http://schemas.openxmlformats.org/package/2006/content-types">
  <Default Extension="emf" ContentType="image/x-emf"/>
  <Default Extension="fntdata" ContentType="application/x-fontdata"/>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notesSlides/notesSlide1.xml" ContentType="application/vnd.openxmlformats-officedocument.presentationml.notesSlide+xml"/>
  <Override PartName="/ppt/tags/tag28.xml" ContentType="application/vnd.openxmlformats-officedocument.presentationml.tags+xml"/>
  <Override PartName="/ppt/notesSlides/notesSlide2.xml" ContentType="application/vnd.openxmlformats-officedocument.presentationml.notesSlide+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notesSlides/notesSlide3.xml" ContentType="application/vnd.openxmlformats-officedocument.presentationml.notesSlide+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notesSlides/notesSlide4.xml" ContentType="application/vnd.openxmlformats-officedocument.presentationml.notesSlide+xml"/>
  <Override PartName="/ppt/tags/tag35.xml" ContentType="application/vnd.openxmlformats-officedocument.presentationml.tags+xml"/>
  <Override PartName="/ppt/notesSlides/notesSlide5.xml" ContentType="application/vnd.openxmlformats-officedocument.presentationml.notesSlide+xml"/>
  <Override PartName="/ppt/tags/tag36.xml" ContentType="application/vnd.openxmlformats-officedocument.presentationml.tags+xml"/>
  <Override PartName="/ppt/notesSlides/notesSlide6.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saveSubsetFonts="1">
  <p:sldMasterIdLst>
    <p:sldMasterId id="2147483648" r:id="rId4"/>
  </p:sldMasterIdLst>
  <p:notesMasterIdLst>
    <p:notesMasterId r:id="rId12"/>
  </p:notesMasterIdLst>
  <p:sldIdLst>
    <p:sldId id="277" r:id="rId5"/>
    <p:sldId id="258" r:id="rId6"/>
    <p:sldId id="279" r:id="rId7"/>
    <p:sldId id="270" r:id="rId8"/>
    <p:sldId id="269" r:id="rId9"/>
    <p:sldId id="278" r:id="rId10"/>
    <p:sldId id="272" r:id="rId11"/>
  </p:sldIdLst>
  <p:sldSz cx="12192000" cy="6858000"/>
  <p:notesSz cx="6858000" cy="9144000"/>
  <p:embeddedFontLst>
    <p:embeddedFont>
      <p:font typeface="Calibri" panose="020F0502020204030204" pitchFamily="34" charset="0"/>
      <p:regular r:id="rId13"/>
      <p:bold r:id="rId14"/>
      <p:italic r:id="rId15"/>
      <p:boldItalic r:id="rId16"/>
    </p:embeddedFont>
    <p:embeddedFont>
      <p:font typeface="Calibri Light" panose="020F0302020204030204" pitchFamily="34" charset="0"/>
      <p:regular r:id="rId17"/>
      <p:italic r:id="rId18"/>
    </p:embeddedFont>
    <p:embeddedFont>
      <p:font typeface="Verdana" panose="020B0604030504040204" pitchFamily="34" charset="0"/>
      <p:regular r:id="rId19"/>
      <p:bold r:id="rId20"/>
      <p:italic r:id="rId21"/>
      <p:boldItalic r:id="rId22"/>
    </p:embeddedFont>
  </p:embeddedFontLst>
  <p:custDataLst>
    <p:tags r:id="rId23"/>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5456B098-07A5-40EC-61FB-316CAD0A9697}" name="Marta Pont" initials="MP" userId="S::martpont@everis.com::33b949c8-c0c1-4b99-8d46-14d0acb102ca" providerId="AD"/>
  <p188:author id="{A7794ACF-CB49-6A4C-AAB7-253B4EEB5908}" name="Juan Alvarez" initials="JA" userId="S::jalvmart@everis.com::73e3f63f-ddc7-4753-991c-f12dec12c995"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Marta Pont" initials="MP" lastIdx="4" clrIdx="0">
    <p:extLst>
      <p:ext uri="{19B8F6BF-5375-455C-9EA6-DF929625EA0E}">
        <p15:presenceInfo xmlns:p15="http://schemas.microsoft.com/office/powerpoint/2012/main" userId="S-1-5-21-2915997116-4131603029-1789207793-394324" providerId="AD"/>
      </p:ext>
    </p:extLst>
  </p:cmAuthor>
  <p:cmAuthor id="2" name="Juan Alvarez" initials="JA" lastIdx="1" clrIdx="1">
    <p:extLst>
      <p:ext uri="{19B8F6BF-5375-455C-9EA6-DF929625EA0E}">
        <p15:presenceInfo xmlns:p15="http://schemas.microsoft.com/office/powerpoint/2012/main" userId="Juan Alvarez" providerId="None"/>
      </p:ext>
    </p:extLst>
  </p:cmAuthor>
  <p:cmAuthor id="3" name="MARIA BELEN ROSBIER GOMEZ" initials="MBRG" lastIdx="2" clrIdx="2">
    <p:extLst>
      <p:ext uri="{19B8F6BF-5375-455C-9EA6-DF929625EA0E}">
        <p15:presenceInfo xmlns:p15="http://schemas.microsoft.com/office/powerpoint/2012/main" userId="S-1-5-21-2915997116-4131603029-1789207793-597644"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B9BD5"/>
    <a:srgbClr val="2DA2BF"/>
    <a:srgbClr val="F2F2F2"/>
    <a:srgbClr val="767171"/>
    <a:srgbClr val="ED7D31"/>
    <a:srgbClr val="FFC000"/>
    <a:srgbClr val="F9F9F9"/>
    <a:srgbClr val="003399"/>
    <a:srgbClr val="A86ED4"/>
    <a:srgbClr val="F2B8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BD0A3C83-94D0-4D50-9C35-8C1EFE1CE6B3}" v="3" dt="2021-07-14T12:49:41.843"/>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104" d="100"/>
          <a:sy n="104" d="100"/>
        </p:scale>
        <p:origin x="756" y="108"/>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font" Target="fonts/font1.fntdata"/><Relationship Id="rId18" Type="http://schemas.openxmlformats.org/officeDocument/2006/relationships/font" Target="fonts/font6.fntdata"/><Relationship Id="rId26" Type="http://schemas.openxmlformats.org/officeDocument/2006/relationships/viewProps" Target="viewProps.xml"/><Relationship Id="rId3" Type="http://schemas.openxmlformats.org/officeDocument/2006/relationships/customXml" Target="../customXml/item3.xml"/><Relationship Id="rId21" Type="http://schemas.openxmlformats.org/officeDocument/2006/relationships/font" Target="fonts/font9.fntdata"/><Relationship Id="rId7" Type="http://schemas.openxmlformats.org/officeDocument/2006/relationships/slide" Target="slides/slide3.xml"/><Relationship Id="rId12" Type="http://schemas.openxmlformats.org/officeDocument/2006/relationships/notesMaster" Target="notesMasters/notesMaster1.xml"/><Relationship Id="rId17" Type="http://schemas.openxmlformats.org/officeDocument/2006/relationships/font" Target="fonts/font5.fntdata"/><Relationship Id="rId25"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font" Target="fonts/font4.fntdata"/><Relationship Id="rId20" Type="http://schemas.openxmlformats.org/officeDocument/2006/relationships/font" Target="fonts/font8.fntdata"/><Relationship Id="rId29" Type="http://schemas.microsoft.com/office/2016/11/relationships/changesInfo" Target="changesInfos/changesInfo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commentAuthors" Target="commentAuthors.xml"/><Relationship Id="rId5" Type="http://schemas.openxmlformats.org/officeDocument/2006/relationships/slide" Target="slides/slide1.xml"/><Relationship Id="rId15" Type="http://schemas.openxmlformats.org/officeDocument/2006/relationships/font" Target="fonts/font3.fntdata"/><Relationship Id="rId23" Type="http://schemas.openxmlformats.org/officeDocument/2006/relationships/tags" Target="tags/tag1.xml"/><Relationship Id="rId28" Type="http://schemas.openxmlformats.org/officeDocument/2006/relationships/tableStyles" Target="tableStyles.xml"/><Relationship Id="rId10" Type="http://schemas.openxmlformats.org/officeDocument/2006/relationships/slide" Target="slides/slide6.xml"/><Relationship Id="rId19" Type="http://schemas.openxmlformats.org/officeDocument/2006/relationships/font" Target="fonts/font7.fntdata"/><Relationship Id="rId31" Type="http://schemas.microsoft.com/office/2018/10/relationships/authors" Target="author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font" Target="fonts/font2.fntdata"/><Relationship Id="rId22" Type="http://schemas.openxmlformats.org/officeDocument/2006/relationships/font" Target="fonts/font10.fntdata"/><Relationship Id="rId27" Type="http://schemas.openxmlformats.org/officeDocument/2006/relationships/theme" Target="theme/theme1.xml"/><Relationship Id="rId30" Type="http://schemas.microsoft.com/office/2015/10/relationships/revisionInfo" Target="revisionInfo.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Juan Alvarez" userId="73e3f63f-ddc7-4753-991c-f12dec12c995" providerId="ADAL" clId="{BD0A3C83-94D0-4D50-9C35-8C1EFE1CE6B3}"/>
    <pc:docChg chg="undo custSel modSld replTag delTag">
      <pc:chgData name="Juan Alvarez" userId="73e3f63f-ddc7-4753-991c-f12dec12c995" providerId="ADAL" clId="{BD0A3C83-94D0-4D50-9C35-8C1EFE1CE6B3}" dt="2021-07-14T13:01:00.456" v="580"/>
      <pc:docMkLst>
        <pc:docMk/>
      </pc:docMkLst>
      <pc:sldChg chg="replTag delTag">
        <pc:chgData name="Juan Alvarez" userId="73e3f63f-ddc7-4753-991c-f12dec12c995" providerId="ADAL" clId="{BD0A3C83-94D0-4D50-9C35-8C1EFE1CE6B3}" dt="2021-07-14T13:00:53.309" v="564"/>
        <pc:sldMkLst>
          <pc:docMk/>
          <pc:sldMk cId="1701969055" sldId="258"/>
        </pc:sldMkLst>
      </pc:sldChg>
      <pc:sldChg chg="addSp delSp modSp mod replTag delTag">
        <pc:chgData name="Juan Alvarez" userId="73e3f63f-ddc7-4753-991c-f12dec12c995" providerId="ADAL" clId="{BD0A3C83-94D0-4D50-9C35-8C1EFE1CE6B3}" dt="2021-07-14T13:01:00.153" v="578"/>
        <pc:sldMkLst>
          <pc:docMk/>
          <pc:sldMk cId="4096401067" sldId="269"/>
        </pc:sldMkLst>
        <pc:spChg chg="del">
          <ac:chgData name="Juan Alvarez" userId="73e3f63f-ddc7-4753-991c-f12dec12c995" providerId="ADAL" clId="{BD0A3C83-94D0-4D50-9C35-8C1EFE1CE6B3}" dt="2021-07-06T13:58:05.393" v="88" actId="478"/>
          <ac:spMkLst>
            <pc:docMk/>
            <pc:sldMk cId="4096401067" sldId="269"/>
            <ac:spMk id="2" creationId="{00000000-0000-0000-0000-000000000000}"/>
          </ac:spMkLst>
        </pc:spChg>
        <pc:spChg chg="add mod">
          <ac:chgData name="Juan Alvarez" userId="73e3f63f-ddc7-4753-991c-f12dec12c995" providerId="ADAL" clId="{BD0A3C83-94D0-4D50-9C35-8C1EFE1CE6B3}" dt="2021-07-06T14:00:09.173" v="186" actId="20577"/>
          <ac:spMkLst>
            <pc:docMk/>
            <pc:sldMk cId="4096401067" sldId="269"/>
            <ac:spMk id="34" creationId="{7797543D-FB49-4999-96DC-B9418CDE0853}"/>
          </ac:spMkLst>
        </pc:spChg>
        <pc:spChg chg="mod">
          <ac:chgData name="Juan Alvarez" userId="73e3f63f-ddc7-4753-991c-f12dec12c995" providerId="ADAL" clId="{BD0A3C83-94D0-4D50-9C35-8C1EFE1CE6B3}" dt="2021-07-14T12:59:04.803" v="477" actId="6549"/>
          <ac:spMkLst>
            <pc:docMk/>
            <pc:sldMk cId="4096401067" sldId="269"/>
            <ac:spMk id="71" creationId="{623E2A8D-56D5-4A3F-8129-5596CF36B85E}"/>
          </ac:spMkLst>
        </pc:spChg>
      </pc:sldChg>
      <pc:sldChg chg="addSp delSp modSp mod replTag delTag">
        <pc:chgData name="Juan Alvarez" userId="73e3f63f-ddc7-4753-991c-f12dec12c995" providerId="ADAL" clId="{BD0A3C83-94D0-4D50-9C35-8C1EFE1CE6B3}" dt="2021-07-14T13:00:55.282" v="570"/>
        <pc:sldMkLst>
          <pc:docMk/>
          <pc:sldMk cId="3308599872" sldId="270"/>
        </pc:sldMkLst>
        <pc:spChg chg="add del mod">
          <ac:chgData name="Juan Alvarez" userId="73e3f63f-ddc7-4753-991c-f12dec12c995" providerId="ADAL" clId="{BD0A3C83-94D0-4D50-9C35-8C1EFE1CE6B3}" dt="2021-07-06T13:58:14.417" v="102"/>
          <ac:spMkLst>
            <pc:docMk/>
            <pc:sldMk cId="3308599872" sldId="270"/>
            <ac:spMk id="25" creationId="{B395F310-86C6-410E-ADC0-9FE0BE2E591A}"/>
          </ac:spMkLst>
        </pc:spChg>
        <pc:spChg chg="add del mod">
          <ac:chgData name="Juan Alvarez" userId="73e3f63f-ddc7-4753-991c-f12dec12c995" providerId="ADAL" clId="{BD0A3C83-94D0-4D50-9C35-8C1EFE1CE6B3}" dt="2021-07-06T13:59:51.756" v="162"/>
          <ac:spMkLst>
            <pc:docMk/>
            <pc:sldMk cId="3308599872" sldId="270"/>
            <ac:spMk id="26" creationId="{3D1B6367-0BB6-45C1-BF81-0CA11E218594}"/>
          </ac:spMkLst>
        </pc:spChg>
        <pc:spChg chg="add del">
          <ac:chgData name="Juan Alvarez" userId="73e3f63f-ddc7-4753-991c-f12dec12c995" providerId="ADAL" clId="{BD0A3C83-94D0-4D50-9C35-8C1EFE1CE6B3}" dt="2021-07-06T13:59:56.171" v="166" actId="22"/>
          <ac:spMkLst>
            <pc:docMk/>
            <pc:sldMk cId="3308599872" sldId="270"/>
            <ac:spMk id="34" creationId="{9D3CD33B-73FB-4142-8893-B4B80C1C7C21}"/>
          </ac:spMkLst>
        </pc:spChg>
        <pc:spChg chg="add mod">
          <ac:chgData name="Juan Alvarez" userId="73e3f63f-ddc7-4753-991c-f12dec12c995" providerId="ADAL" clId="{BD0A3C83-94D0-4D50-9C35-8C1EFE1CE6B3}" dt="2021-07-06T14:00:01.570" v="175"/>
          <ac:spMkLst>
            <pc:docMk/>
            <pc:sldMk cId="3308599872" sldId="270"/>
            <ac:spMk id="36" creationId="{CF1D1E95-3A04-4466-86C4-154A9C00324C}"/>
          </ac:spMkLst>
        </pc:spChg>
        <pc:spChg chg="add del">
          <ac:chgData name="Juan Alvarez" userId="73e3f63f-ddc7-4753-991c-f12dec12c995" providerId="ADAL" clId="{BD0A3C83-94D0-4D50-9C35-8C1EFE1CE6B3}" dt="2021-07-06T13:58:20.122" v="110" actId="478"/>
          <ac:spMkLst>
            <pc:docMk/>
            <pc:sldMk cId="3308599872" sldId="270"/>
            <ac:spMk id="38" creationId="{00000000-0000-0000-0000-000000000000}"/>
          </ac:spMkLst>
        </pc:spChg>
      </pc:sldChg>
      <pc:sldChg chg="addSp delSp modSp mod replTag delTag">
        <pc:chgData name="Juan Alvarez" userId="73e3f63f-ddc7-4753-991c-f12dec12c995" providerId="ADAL" clId="{BD0A3C83-94D0-4D50-9C35-8C1EFE1CE6B3}" dt="2021-07-14T13:00:57.674" v="576"/>
        <pc:sldMkLst>
          <pc:docMk/>
          <pc:sldMk cId="2902984388" sldId="272"/>
        </pc:sldMkLst>
        <pc:spChg chg="del">
          <ac:chgData name="Juan Alvarez" userId="73e3f63f-ddc7-4753-991c-f12dec12c995" providerId="ADAL" clId="{BD0A3C83-94D0-4D50-9C35-8C1EFE1CE6B3}" dt="2021-07-14T12:53:31.563" v="388" actId="478"/>
          <ac:spMkLst>
            <pc:docMk/>
            <pc:sldMk cId="2902984388" sldId="272"/>
            <ac:spMk id="21" creationId="{67E37BA0-2D00-4C26-BD38-684CEFC907E7}"/>
          </ac:spMkLst>
        </pc:spChg>
        <pc:spChg chg="add del mod">
          <ac:chgData name="Juan Alvarez" userId="73e3f63f-ddc7-4753-991c-f12dec12c995" providerId="ADAL" clId="{BD0A3C83-94D0-4D50-9C35-8C1EFE1CE6B3}" dt="2021-07-14T12:49:40.149" v="324"/>
          <ac:spMkLst>
            <pc:docMk/>
            <pc:sldMk cId="2902984388" sldId="272"/>
            <ac:spMk id="24" creationId="{838D7CFD-A451-4046-8260-0BBA2C747BF7}"/>
          </ac:spMkLst>
        </pc:spChg>
        <pc:spChg chg="add del mod">
          <ac:chgData name="Juan Alvarez" userId="73e3f63f-ddc7-4753-991c-f12dec12c995" providerId="ADAL" clId="{BD0A3C83-94D0-4D50-9C35-8C1EFE1CE6B3}" dt="2021-07-14T12:49:40.149" v="324"/>
          <ac:spMkLst>
            <pc:docMk/>
            <pc:sldMk cId="2902984388" sldId="272"/>
            <ac:spMk id="25" creationId="{09A0D4A3-7565-47ED-9BEA-0DD745D974F0}"/>
          </ac:spMkLst>
        </pc:spChg>
        <pc:spChg chg="add del mod">
          <ac:chgData name="Juan Alvarez" userId="73e3f63f-ddc7-4753-991c-f12dec12c995" providerId="ADAL" clId="{BD0A3C83-94D0-4D50-9C35-8C1EFE1CE6B3}" dt="2021-07-14T12:49:40.149" v="324"/>
          <ac:spMkLst>
            <pc:docMk/>
            <pc:sldMk cId="2902984388" sldId="272"/>
            <ac:spMk id="26" creationId="{A12CCC09-95C3-4900-B74E-4C61A1AD2AD7}"/>
          </ac:spMkLst>
        </pc:spChg>
        <pc:spChg chg="add del mod">
          <ac:chgData name="Juan Alvarez" userId="73e3f63f-ddc7-4753-991c-f12dec12c995" providerId="ADAL" clId="{BD0A3C83-94D0-4D50-9C35-8C1EFE1CE6B3}" dt="2021-07-14T12:49:40.149" v="324"/>
          <ac:spMkLst>
            <pc:docMk/>
            <pc:sldMk cId="2902984388" sldId="272"/>
            <ac:spMk id="27" creationId="{C434A483-FDE4-48CA-9942-2B2D5F786D52}"/>
          </ac:spMkLst>
        </pc:spChg>
        <pc:spChg chg="add del mod">
          <ac:chgData name="Juan Alvarez" userId="73e3f63f-ddc7-4753-991c-f12dec12c995" providerId="ADAL" clId="{BD0A3C83-94D0-4D50-9C35-8C1EFE1CE6B3}" dt="2021-07-14T12:49:40.149" v="324"/>
          <ac:spMkLst>
            <pc:docMk/>
            <pc:sldMk cId="2902984388" sldId="272"/>
            <ac:spMk id="28" creationId="{BAEFE3ED-7B88-4873-9099-885C3D9AB92F}"/>
          </ac:spMkLst>
        </pc:spChg>
        <pc:spChg chg="add del mod">
          <ac:chgData name="Juan Alvarez" userId="73e3f63f-ddc7-4753-991c-f12dec12c995" providerId="ADAL" clId="{BD0A3C83-94D0-4D50-9C35-8C1EFE1CE6B3}" dt="2021-07-14T12:49:40.149" v="324"/>
          <ac:spMkLst>
            <pc:docMk/>
            <pc:sldMk cId="2902984388" sldId="272"/>
            <ac:spMk id="29" creationId="{2A7ADF0B-BF70-457B-B22C-958793A1FA8A}"/>
          </ac:spMkLst>
        </pc:spChg>
        <pc:spChg chg="add del mod">
          <ac:chgData name="Juan Alvarez" userId="73e3f63f-ddc7-4753-991c-f12dec12c995" providerId="ADAL" clId="{BD0A3C83-94D0-4D50-9C35-8C1EFE1CE6B3}" dt="2021-07-14T12:49:40.149" v="324"/>
          <ac:spMkLst>
            <pc:docMk/>
            <pc:sldMk cId="2902984388" sldId="272"/>
            <ac:spMk id="30" creationId="{0FA4049E-34BF-429F-A0CC-2409B23A657C}"/>
          </ac:spMkLst>
        </pc:spChg>
        <pc:spChg chg="add del mod">
          <ac:chgData name="Juan Alvarez" userId="73e3f63f-ddc7-4753-991c-f12dec12c995" providerId="ADAL" clId="{BD0A3C83-94D0-4D50-9C35-8C1EFE1CE6B3}" dt="2021-07-14T12:49:40.149" v="324"/>
          <ac:spMkLst>
            <pc:docMk/>
            <pc:sldMk cId="2902984388" sldId="272"/>
            <ac:spMk id="31" creationId="{885F3EEB-19B7-4262-BE9E-7E395E5A2888}"/>
          </ac:spMkLst>
        </pc:spChg>
        <pc:spChg chg="add del mod">
          <ac:chgData name="Juan Alvarez" userId="73e3f63f-ddc7-4753-991c-f12dec12c995" providerId="ADAL" clId="{BD0A3C83-94D0-4D50-9C35-8C1EFE1CE6B3}" dt="2021-07-14T12:49:40.149" v="324"/>
          <ac:spMkLst>
            <pc:docMk/>
            <pc:sldMk cId="2902984388" sldId="272"/>
            <ac:spMk id="32" creationId="{4A277900-5256-4B73-8ADF-CE4BB5547458}"/>
          </ac:spMkLst>
        </pc:spChg>
        <pc:spChg chg="add del mod">
          <ac:chgData name="Juan Alvarez" userId="73e3f63f-ddc7-4753-991c-f12dec12c995" providerId="ADAL" clId="{BD0A3C83-94D0-4D50-9C35-8C1EFE1CE6B3}" dt="2021-07-14T12:49:40.149" v="324"/>
          <ac:spMkLst>
            <pc:docMk/>
            <pc:sldMk cId="2902984388" sldId="272"/>
            <ac:spMk id="33" creationId="{C9FB8F6E-EA75-4724-A236-4AD9AF2E517A}"/>
          </ac:spMkLst>
        </pc:spChg>
        <pc:spChg chg="del">
          <ac:chgData name="Juan Alvarez" userId="73e3f63f-ddc7-4753-991c-f12dec12c995" providerId="ADAL" clId="{BD0A3C83-94D0-4D50-9C35-8C1EFE1CE6B3}" dt="2021-07-14T12:53:31.563" v="388" actId="478"/>
          <ac:spMkLst>
            <pc:docMk/>
            <pc:sldMk cId="2902984388" sldId="272"/>
            <ac:spMk id="34" creationId="{7C3AE844-5F2D-4F4E-B3F9-7C7E22CA24D0}"/>
          </ac:spMkLst>
        </pc:spChg>
        <pc:spChg chg="del">
          <ac:chgData name="Juan Alvarez" userId="73e3f63f-ddc7-4753-991c-f12dec12c995" providerId="ADAL" clId="{BD0A3C83-94D0-4D50-9C35-8C1EFE1CE6B3}" dt="2021-07-14T12:53:31.563" v="388" actId="478"/>
          <ac:spMkLst>
            <pc:docMk/>
            <pc:sldMk cId="2902984388" sldId="272"/>
            <ac:spMk id="35" creationId="{72B13751-CFA1-4A13-93E6-1FB6154A91A9}"/>
          </ac:spMkLst>
        </pc:spChg>
        <pc:spChg chg="del">
          <ac:chgData name="Juan Alvarez" userId="73e3f63f-ddc7-4753-991c-f12dec12c995" providerId="ADAL" clId="{BD0A3C83-94D0-4D50-9C35-8C1EFE1CE6B3}" dt="2021-07-14T12:53:31.563" v="388" actId="478"/>
          <ac:spMkLst>
            <pc:docMk/>
            <pc:sldMk cId="2902984388" sldId="272"/>
            <ac:spMk id="36" creationId="{71D48DBE-C2B5-4162-AAEF-A4E9A9182C66}"/>
          </ac:spMkLst>
        </pc:spChg>
        <pc:spChg chg="del">
          <ac:chgData name="Juan Alvarez" userId="73e3f63f-ddc7-4753-991c-f12dec12c995" providerId="ADAL" clId="{BD0A3C83-94D0-4D50-9C35-8C1EFE1CE6B3}" dt="2021-07-14T12:53:31.563" v="388" actId="478"/>
          <ac:spMkLst>
            <pc:docMk/>
            <pc:sldMk cId="2902984388" sldId="272"/>
            <ac:spMk id="37" creationId="{5674C7BF-813F-4484-951F-FE3EBFD64D7A}"/>
          </ac:spMkLst>
        </pc:spChg>
        <pc:spChg chg="del">
          <ac:chgData name="Juan Alvarez" userId="73e3f63f-ddc7-4753-991c-f12dec12c995" providerId="ADAL" clId="{BD0A3C83-94D0-4D50-9C35-8C1EFE1CE6B3}" dt="2021-07-14T12:53:31.563" v="388" actId="478"/>
          <ac:spMkLst>
            <pc:docMk/>
            <pc:sldMk cId="2902984388" sldId="272"/>
            <ac:spMk id="38" creationId="{5BD45338-C3D6-4A48-A392-D48CBBBCA6D0}"/>
          </ac:spMkLst>
        </pc:spChg>
        <pc:spChg chg="del">
          <ac:chgData name="Juan Alvarez" userId="73e3f63f-ddc7-4753-991c-f12dec12c995" providerId="ADAL" clId="{BD0A3C83-94D0-4D50-9C35-8C1EFE1CE6B3}" dt="2021-07-14T12:53:31.563" v="388" actId="478"/>
          <ac:spMkLst>
            <pc:docMk/>
            <pc:sldMk cId="2902984388" sldId="272"/>
            <ac:spMk id="39" creationId="{132E1852-92ED-486C-BF0D-7D907E52AD15}"/>
          </ac:spMkLst>
        </pc:spChg>
        <pc:spChg chg="del">
          <ac:chgData name="Juan Alvarez" userId="73e3f63f-ddc7-4753-991c-f12dec12c995" providerId="ADAL" clId="{BD0A3C83-94D0-4D50-9C35-8C1EFE1CE6B3}" dt="2021-07-14T12:53:31.563" v="388" actId="478"/>
          <ac:spMkLst>
            <pc:docMk/>
            <pc:sldMk cId="2902984388" sldId="272"/>
            <ac:spMk id="40" creationId="{22661FA2-107A-423F-A723-5467C7C7FD1D}"/>
          </ac:spMkLst>
        </pc:spChg>
        <pc:spChg chg="del">
          <ac:chgData name="Juan Alvarez" userId="73e3f63f-ddc7-4753-991c-f12dec12c995" providerId="ADAL" clId="{BD0A3C83-94D0-4D50-9C35-8C1EFE1CE6B3}" dt="2021-07-14T12:53:31.563" v="388" actId="478"/>
          <ac:spMkLst>
            <pc:docMk/>
            <pc:sldMk cId="2902984388" sldId="272"/>
            <ac:spMk id="41" creationId="{B2C614F2-E0E3-4D76-8A04-652825485C33}"/>
          </ac:spMkLst>
        </pc:spChg>
        <pc:spChg chg="del">
          <ac:chgData name="Juan Alvarez" userId="73e3f63f-ddc7-4753-991c-f12dec12c995" providerId="ADAL" clId="{BD0A3C83-94D0-4D50-9C35-8C1EFE1CE6B3}" dt="2021-07-14T12:53:31.563" v="388" actId="478"/>
          <ac:spMkLst>
            <pc:docMk/>
            <pc:sldMk cId="2902984388" sldId="272"/>
            <ac:spMk id="43" creationId="{F6743357-48E2-4983-9256-54E97EDBC220}"/>
          </ac:spMkLst>
        </pc:spChg>
        <pc:spChg chg="add del mod">
          <ac:chgData name="Juan Alvarez" userId="73e3f63f-ddc7-4753-991c-f12dec12c995" providerId="ADAL" clId="{BD0A3C83-94D0-4D50-9C35-8C1EFE1CE6B3}" dt="2021-07-14T12:49:40.149" v="324"/>
          <ac:spMkLst>
            <pc:docMk/>
            <pc:sldMk cId="2902984388" sldId="272"/>
            <ac:spMk id="44" creationId="{80BAD055-14D1-410A-A690-CB385884771C}"/>
          </ac:spMkLst>
        </pc:spChg>
        <pc:spChg chg="add del mod">
          <ac:chgData name="Juan Alvarez" userId="73e3f63f-ddc7-4753-991c-f12dec12c995" providerId="ADAL" clId="{BD0A3C83-94D0-4D50-9C35-8C1EFE1CE6B3}" dt="2021-07-14T12:49:40.149" v="324"/>
          <ac:spMkLst>
            <pc:docMk/>
            <pc:sldMk cId="2902984388" sldId="272"/>
            <ac:spMk id="45" creationId="{FD58FE62-C854-4337-8A1B-6EBDDB44887A}"/>
          </ac:spMkLst>
        </pc:spChg>
        <pc:spChg chg="add del mod">
          <ac:chgData name="Juan Alvarez" userId="73e3f63f-ddc7-4753-991c-f12dec12c995" providerId="ADAL" clId="{BD0A3C83-94D0-4D50-9C35-8C1EFE1CE6B3}" dt="2021-07-14T12:49:40.149" v="324"/>
          <ac:spMkLst>
            <pc:docMk/>
            <pc:sldMk cId="2902984388" sldId="272"/>
            <ac:spMk id="46" creationId="{4382D2D5-AF86-4F64-8DBC-56E5E97E00EF}"/>
          </ac:spMkLst>
        </pc:spChg>
        <pc:spChg chg="add del mod">
          <ac:chgData name="Juan Alvarez" userId="73e3f63f-ddc7-4753-991c-f12dec12c995" providerId="ADAL" clId="{BD0A3C83-94D0-4D50-9C35-8C1EFE1CE6B3}" dt="2021-07-14T12:49:40.149" v="324"/>
          <ac:spMkLst>
            <pc:docMk/>
            <pc:sldMk cId="2902984388" sldId="272"/>
            <ac:spMk id="47" creationId="{0C146249-848B-43BE-84CD-20383E607ECD}"/>
          </ac:spMkLst>
        </pc:spChg>
        <pc:spChg chg="add del mod">
          <ac:chgData name="Juan Alvarez" userId="73e3f63f-ddc7-4753-991c-f12dec12c995" providerId="ADAL" clId="{BD0A3C83-94D0-4D50-9C35-8C1EFE1CE6B3}" dt="2021-07-14T12:49:40.149" v="324"/>
          <ac:spMkLst>
            <pc:docMk/>
            <pc:sldMk cId="2902984388" sldId="272"/>
            <ac:spMk id="48" creationId="{20A064EB-0637-40B6-99B0-5FFA64EFF4EF}"/>
          </ac:spMkLst>
        </pc:spChg>
        <pc:spChg chg="add del mod">
          <ac:chgData name="Juan Alvarez" userId="73e3f63f-ddc7-4753-991c-f12dec12c995" providerId="ADAL" clId="{BD0A3C83-94D0-4D50-9C35-8C1EFE1CE6B3}" dt="2021-07-14T12:49:40.149" v="324"/>
          <ac:spMkLst>
            <pc:docMk/>
            <pc:sldMk cId="2902984388" sldId="272"/>
            <ac:spMk id="49" creationId="{7B1B1B34-AAFC-4AA9-9E6C-CFB6AD022C37}"/>
          </ac:spMkLst>
        </pc:spChg>
        <pc:spChg chg="add del mod">
          <ac:chgData name="Juan Alvarez" userId="73e3f63f-ddc7-4753-991c-f12dec12c995" providerId="ADAL" clId="{BD0A3C83-94D0-4D50-9C35-8C1EFE1CE6B3}" dt="2021-07-14T12:49:40.149" v="324"/>
          <ac:spMkLst>
            <pc:docMk/>
            <pc:sldMk cId="2902984388" sldId="272"/>
            <ac:spMk id="50" creationId="{544E9336-5000-4D6E-89CC-C5D6427317C1}"/>
          </ac:spMkLst>
        </pc:spChg>
        <pc:spChg chg="add del mod">
          <ac:chgData name="Juan Alvarez" userId="73e3f63f-ddc7-4753-991c-f12dec12c995" providerId="ADAL" clId="{BD0A3C83-94D0-4D50-9C35-8C1EFE1CE6B3}" dt="2021-07-14T12:49:40.149" v="324"/>
          <ac:spMkLst>
            <pc:docMk/>
            <pc:sldMk cId="2902984388" sldId="272"/>
            <ac:spMk id="51" creationId="{1CF69CAC-394D-4F7C-A8B5-7381DF7A8504}"/>
          </ac:spMkLst>
        </pc:spChg>
        <pc:spChg chg="add del mod">
          <ac:chgData name="Juan Alvarez" userId="73e3f63f-ddc7-4753-991c-f12dec12c995" providerId="ADAL" clId="{BD0A3C83-94D0-4D50-9C35-8C1EFE1CE6B3}" dt="2021-07-14T12:49:40.149" v="324"/>
          <ac:spMkLst>
            <pc:docMk/>
            <pc:sldMk cId="2902984388" sldId="272"/>
            <ac:spMk id="52" creationId="{FEB5D10E-E5C3-4B05-8192-019A84031166}"/>
          </ac:spMkLst>
        </pc:spChg>
        <pc:spChg chg="add del mod">
          <ac:chgData name="Juan Alvarez" userId="73e3f63f-ddc7-4753-991c-f12dec12c995" providerId="ADAL" clId="{BD0A3C83-94D0-4D50-9C35-8C1EFE1CE6B3}" dt="2021-07-14T12:49:40.149" v="324"/>
          <ac:spMkLst>
            <pc:docMk/>
            <pc:sldMk cId="2902984388" sldId="272"/>
            <ac:spMk id="53" creationId="{6774310F-3AB7-4E4B-91A7-F503471B5638}"/>
          </ac:spMkLst>
        </pc:spChg>
        <pc:spChg chg="add del mod ord">
          <ac:chgData name="Juan Alvarez" userId="73e3f63f-ddc7-4753-991c-f12dec12c995" providerId="ADAL" clId="{BD0A3C83-94D0-4D50-9C35-8C1EFE1CE6B3}" dt="2021-07-14T12:53:28.535" v="387" actId="478"/>
          <ac:spMkLst>
            <pc:docMk/>
            <pc:sldMk cId="2902984388" sldId="272"/>
            <ac:spMk id="54" creationId="{934CF9A4-F3E9-4F25-8EA5-0A697549B26F}"/>
          </ac:spMkLst>
        </pc:spChg>
        <pc:spChg chg="add del mod ord">
          <ac:chgData name="Juan Alvarez" userId="73e3f63f-ddc7-4753-991c-f12dec12c995" providerId="ADAL" clId="{BD0A3C83-94D0-4D50-9C35-8C1EFE1CE6B3}" dt="2021-07-14T12:53:28.535" v="387" actId="478"/>
          <ac:spMkLst>
            <pc:docMk/>
            <pc:sldMk cId="2902984388" sldId="272"/>
            <ac:spMk id="55" creationId="{59623887-958A-44E7-A09A-5236A90C57BB}"/>
          </ac:spMkLst>
        </pc:spChg>
        <pc:spChg chg="add del mod ord">
          <ac:chgData name="Juan Alvarez" userId="73e3f63f-ddc7-4753-991c-f12dec12c995" providerId="ADAL" clId="{BD0A3C83-94D0-4D50-9C35-8C1EFE1CE6B3}" dt="2021-07-14T12:53:28.535" v="387" actId="478"/>
          <ac:spMkLst>
            <pc:docMk/>
            <pc:sldMk cId="2902984388" sldId="272"/>
            <ac:spMk id="56" creationId="{67D8E7BE-9C6E-4B85-9D45-3F7CF13C2252}"/>
          </ac:spMkLst>
        </pc:spChg>
        <pc:spChg chg="add del mod ord">
          <ac:chgData name="Juan Alvarez" userId="73e3f63f-ddc7-4753-991c-f12dec12c995" providerId="ADAL" clId="{BD0A3C83-94D0-4D50-9C35-8C1EFE1CE6B3}" dt="2021-07-14T12:53:28.535" v="387" actId="478"/>
          <ac:spMkLst>
            <pc:docMk/>
            <pc:sldMk cId="2902984388" sldId="272"/>
            <ac:spMk id="57" creationId="{D17950AA-2FCC-48D0-8F43-F20E4A19C1E5}"/>
          </ac:spMkLst>
        </pc:spChg>
        <pc:spChg chg="add del mod ord">
          <ac:chgData name="Juan Alvarez" userId="73e3f63f-ddc7-4753-991c-f12dec12c995" providerId="ADAL" clId="{BD0A3C83-94D0-4D50-9C35-8C1EFE1CE6B3}" dt="2021-07-14T12:53:28.535" v="387" actId="478"/>
          <ac:spMkLst>
            <pc:docMk/>
            <pc:sldMk cId="2902984388" sldId="272"/>
            <ac:spMk id="58" creationId="{C42A73FE-C194-48DE-9036-D8DA62E07A1E}"/>
          </ac:spMkLst>
        </pc:spChg>
        <pc:spChg chg="add del mod ord">
          <ac:chgData name="Juan Alvarez" userId="73e3f63f-ddc7-4753-991c-f12dec12c995" providerId="ADAL" clId="{BD0A3C83-94D0-4D50-9C35-8C1EFE1CE6B3}" dt="2021-07-14T12:53:28.535" v="387" actId="478"/>
          <ac:spMkLst>
            <pc:docMk/>
            <pc:sldMk cId="2902984388" sldId="272"/>
            <ac:spMk id="59" creationId="{DE7F858F-035C-48B3-A297-3497833B5A0A}"/>
          </ac:spMkLst>
        </pc:spChg>
        <pc:spChg chg="add mod ord">
          <ac:chgData name="Juan Alvarez" userId="73e3f63f-ddc7-4753-991c-f12dec12c995" providerId="ADAL" clId="{BD0A3C83-94D0-4D50-9C35-8C1EFE1CE6B3}" dt="2021-07-14T12:53:45.996" v="463" actId="1076"/>
          <ac:spMkLst>
            <pc:docMk/>
            <pc:sldMk cId="2902984388" sldId="272"/>
            <ac:spMk id="60" creationId="{2F7E9558-4D27-4F11-91F7-DB0DC9FCAE8F}"/>
          </ac:spMkLst>
        </pc:spChg>
        <pc:spChg chg="add mod ord">
          <ac:chgData name="Juan Alvarez" userId="73e3f63f-ddc7-4753-991c-f12dec12c995" providerId="ADAL" clId="{BD0A3C83-94D0-4D50-9C35-8C1EFE1CE6B3}" dt="2021-07-14T12:53:45.996" v="463" actId="1076"/>
          <ac:spMkLst>
            <pc:docMk/>
            <pc:sldMk cId="2902984388" sldId="272"/>
            <ac:spMk id="61" creationId="{EA731E75-389E-4DCD-8F15-FFB5E9C28F94}"/>
          </ac:spMkLst>
        </pc:spChg>
        <pc:spChg chg="add mod ord">
          <ac:chgData name="Juan Alvarez" userId="73e3f63f-ddc7-4753-991c-f12dec12c995" providerId="ADAL" clId="{BD0A3C83-94D0-4D50-9C35-8C1EFE1CE6B3}" dt="2021-07-14T12:53:45.996" v="463" actId="1076"/>
          <ac:spMkLst>
            <pc:docMk/>
            <pc:sldMk cId="2902984388" sldId="272"/>
            <ac:spMk id="62" creationId="{92E0B9D5-C251-4B34-A174-3A9A1F1AC681}"/>
          </ac:spMkLst>
        </pc:spChg>
        <pc:spChg chg="add mod ord">
          <ac:chgData name="Juan Alvarez" userId="73e3f63f-ddc7-4753-991c-f12dec12c995" providerId="ADAL" clId="{BD0A3C83-94D0-4D50-9C35-8C1EFE1CE6B3}" dt="2021-07-14T12:53:45.996" v="463" actId="1076"/>
          <ac:spMkLst>
            <pc:docMk/>
            <pc:sldMk cId="2902984388" sldId="272"/>
            <ac:spMk id="63" creationId="{2522EBD6-2852-4472-A436-4AF72890E5B6}"/>
          </ac:spMkLst>
        </pc:spChg>
        <pc:spChg chg="add mod ord">
          <ac:chgData name="Juan Alvarez" userId="73e3f63f-ddc7-4753-991c-f12dec12c995" providerId="ADAL" clId="{BD0A3C83-94D0-4D50-9C35-8C1EFE1CE6B3}" dt="2021-07-14T12:53:45.996" v="463" actId="1076"/>
          <ac:spMkLst>
            <pc:docMk/>
            <pc:sldMk cId="2902984388" sldId="272"/>
            <ac:spMk id="64" creationId="{BDF6BB91-7CCD-4214-BB6D-38FDAC605BFE}"/>
          </ac:spMkLst>
        </pc:spChg>
        <pc:spChg chg="add mod ord">
          <ac:chgData name="Juan Alvarez" userId="73e3f63f-ddc7-4753-991c-f12dec12c995" providerId="ADAL" clId="{BD0A3C83-94D0-4D50-9C35-8C1EFE1CE6B3}" dt="2021-07-14T12:53:45.996" v="463" actId="1076"/>
          <ac:spMkLst>
            <pc:docMk/>
            <pc:sldMk cId="2902984388" sldId="272"/>
            <ac:spMk id="65" creationId="{753EC3F1-1B6B-449F-A725-6DD96DE73834}"/>
          </ac:spMkLst>
        </pc:spChg>
        <pc:spChg chg="add del mod ord">
          <ac:chgData name="Juan Alvarez" userId="73e3f63f-ddc7-4753-991c-f12dec12c995" providerId="ADAL" clId="{BD0A3C83-94D0-4D50-9C35-8C1EFE1CE6B3}" dt="2021-07-14T12:53:28.535" v="387" actId="478"/>
          <ac:spMkLst>
            <pc:docMk/>
            <pc:sldMk cId="2902984388" sldId="272"/>
            <ac:spMk id="66" creationId="{A61436C2-847F-46AA-83CA-33BD14EBA1C8}"/>
          </ac:spMkLst>
        </pc:spChg>
        <pc:spChg chg="add mod ord">
          <ac:chgData name="Juan Alvarez" userId="73e3f63f-ddc7-4753-991c-f12dec12c995" providerId="ADAL" clId="{BD0A3C83-94D0-4D50-9C35-8C1EFE1CE6B3}" dt="2021-07-14T12:53:45.996" v="463" actId="1076"/>
          <ac:spMkLst>
            <pc:docMk/>
            <pc:sldMk cId="2902984388" sldId="272"/>
            <ac:spMk id="67" creationId="{80AB0378-62AF-4E1F-A8C0-A72B6CC86C67}"/>
          </ac:spMkLst>
        </pc:spChg>
        <pc:spChg chg="add mod ord">
          <ac:chgData name="Juan Alvarez" userId="73e3f63f-ddc7-4753-991c-f12dec12c995" providerId="ADAL" clId="{BD0A3C83-94D0-4D50-9C35-8C1EFE1CE6B3}" dt="2021-07-14T12:53:45.996" v="463" actId="1076"/>
          <ac:spMkLst>
            <pc:docMk/>
            <pc:sldMk cId="2902984388" sldId="272"/>
            <ac:spMk id="68" creationId="{BFB06226-7FBD-4DEC-82E0-1EAFF1E7F6E1}"/>
          </ac:spMkLst>
        </pc:spChg>
        <pc:spChg chg="add mod ord">
          <ac:chgData name="Juan Alvarez" userId="73e3f63f-ddc7-4753-991c-f12dec12c995" providerId="ADAL" clId="{BD0A3C83-94D0-4D50-9C35-8C1EFE1CE6B3}" dt="2021-07-14T12:58:57.690" v="472" actId="6549"/>
          <ac:spMkLst>
            <pc:docMk/>
            <pc:sldMk cId="2902984388" sldId="272"/>
            <ac:spMk id="69" creationId="{9BBE7A6F-8110-489E-A3C4-8807A20BA5F3}"/>
          </ac:spMkLst>
        </pc:spChg>
        <pc:spChg chg="add del mod ord">
          <ac:chgData name="Juan Alvarez" userId="73e3f63f-ddc7-4753-991c-f12dec12c995" providerId="ADAL" clId="{BD0A3C83-94D0-4D50-9C35-8C1EFE1CE6B3}" dt="2021-07-14T12:53:28.535" v="387" actId="478"/>
          <ac:spMkLst>
            <pc:docMk/>
            <pc:sldMk cId="2902984388" sldId="272"/>
            <ac:spMk id="70" creationId="{0A9CCC7E-DAF4-41C2-83AC-BC07142294A4}"/>
          </ac:spMkLst>
        </pc:spChg>
        <pc:spChg chg="add del mod ord">
          <ac:chgData name="Juan Alvarez" userId="73e3f63f-ddc7-4753-991c-f12dec12c995" providerId="ADAL" clId="{BD0A3C83-94D0-4D50-9C35-8C1EFE1CE6B3}" dt="2021-07-14T12:53:28.535" v="387" actId="478"/>
          <ac:spMkLst>
            <pc:docMk/>
            <pc:sldMk cId="2902984388" sldId="272"/>
            <ac:spMk id="71" creationId="{D48FCFB7-2B5B-42BA-9347-6D70502C1C06}"/>
          </ac:spMkLst>
        </pc:spChg>
        <pc:spChg chg="add del mod ord">
          <ac:chgData name="Juan Alvarez" userId="73e3f63f-ddc7-4753-991c-f12dec12c995" providerId="ADAL" clId="{BD0A3C83-94D0-4D50-9C35-8C1EFE1CE6B3}" dt="2021-07-14T12:53:28.535" v="387" actId="478"/>
          <ac:spMkLst>
            <pc:docMk/>
            <pc:sldMk cId="2902984388" sldId="272"/>
            <ac:spMk id="72" creationId="{848E9395-7203-40A5-85F5-29379888E959}"/>
          </ac:spMkLst>
        </pc:spChg>
        <pc:spChg chg="add mod ord">
          <ac:chgData name="Juan Alvarez" userId="73e3f63f-ddc7-4753-991c-f12dec12c995" providerId="ADAL" clId="{BD0A3C83-94D0-4D50-9C35-8C1EFE1CE6B3}" dt="2021-07-14T12:53:45.996" v="463" actId="1076"/>
          <ac:spMkLst>
            <pc:docMk/>
            <pc:sldMk cId="2902984388" sldId="272"/>
            <ac:spMk id="73" creationId="{2202C798-134B-4686-A8F7-114C9D3305AA}"/>
          </ac:spMkLst>
        </pc:spChg>
        <pc:spChg chg="mod">
          <ac:chgData name="Juan Alvarez" userId="73e3f63f-ddc7-4753-991c-f12dec12c995" providerId="ADAL" clId="{BD0A3C83-94D0-4D50-9C35-8C1EFE1CE6B3}" dt="2021-07-06T14:00:14.773" v="194" actId="20577"/>
          <ac:spMkLst>
            <pc:docMk/>
            <pc:sldMk cId="2902984388" sldId="272"/>
            <ac:spMk id="128" creationId="{8D7BDE37-0F2D-4FF3-8ED6-3D13CE163856}"/>
          </ac:spMkLst>
        </pc:spChg>
      </pc:sldChg>
      <pc:sldChg chg="modSp mod replTag delTag">
        <pc:chgData name="Juan Alvarez" userId="73e3f63f-ddc7-4753-991c-f12dec12c995" providerId="ADAL" clId="{BD0A3C83-94D0-4D50-9C35-8C1EFE1CE6B3}" dt="2021-07-14T13:01:00.456" v="580"/>
        <pc:sldMkLst>
          <pc:docMk/>
          <pc:sldMk cId="1411604850" sldId="277"/>
        </pc:sldMkLst>
        <pc:spChg chg="mod">
          <ac:chgData name="Juan Alvarez" userId="73e3f63f-ddc7-4753-991c-f12dec12c995" providerId="ADAL" clId="{BD0A3C83-94D0-4D50-9C35-8C1EFE1CE6B3}" dt="2021-07-14T11:43:42.647" v="222" actId="20577"/>
          <ac:spMkLst>
            <pc:docMk/>
            <pc:sldMk cId="1411604850" sldId="277"/>
            <ac:spMk id="18" creationId="{00000000-0000-0000-0000-000000000000}"/>
          </ac:spMkLst>
        </pc:spChg>
      </pc:sldChg>
      <pc:sldChg chg="modSp mod replTag delTag">
        <pc:chgData name="Juan Alvarez" userId="73e3f63f-ddc7-4753-991c-f12dec12c995" providerId="ADAL" clId="{BD0A3C83-94D0-4D50-9C35-8C1EFE1CE6B3}" dt="2021-07-14T13:00:56.819" v="574"/>
        <pc:sldMkLst>
          <pc:docMk/>
          <pc:sldMk cId="1216571049" sldId="278"/>
        </pc:sldMkLst>
        <pc:spChg chg="mod">
          <ac:chgData name="Juan Alvarez" userId="73e3f63f-ddc7-4753-991c-f12dec12c995" providerId="ADAL" clId="{BD0A3C83-94D0-4D50-9C35-8C1EFE1CE6B3}" dt="2021-07-06T13:59:51.059" v="147" actId="20577"/>
          <ac:spMkLst>
            <pc:docMk/>
            <pc:sldMk cId="1216571049" sldId="278"/>
            <ac:spMk id="42" creationId="{02EE4D91-62A6-4D30-A0F4-2401D59EC7FE}"/>
          </ac:spMkLst>
        </pc:spChg>
      </pc:sldChg>
      <pc:sldChg chg="replTag delTag modNotesTx">
        <pc:chgData name="Juan Alvarez" userId="73e3f63f-ddc7-4753-991c-f12dec12c995" providerId="ADAL" clId="{BD0A3C83-94D0-4D50-9C35-8C1EFE1CE6B3}" dt="2021-07-14T13:00:54.758" v="568"/>
        <pc:sldMkLst>
          <pc:docMk/>
          <pc:sldMk cId="1599120095" sldId="279"/>
        </pc:sldMkLst>
      </pc:sldChg>
    </pc:docChg>
  </pc:docChgLst>
  <pc:docChgLst>
    <pc:chgData name="Javiera Paz Oliva Castillo" userId="9d0101cc-61b7-4c6c-aea5-51e0d53b0f94" providerId="ADAL" clId="{EAC4B4BB-0250-43D7-A316-656366FE3C82}"/>
    <pc:docChg chg="modSld">
      <pc:chgData name="Javiera Paz Oliva Castillo" userId="9d0101cc-61b7-4c6c-aea5-51e0d53b0f94" providerId="ADAL" clId="{EAC4B4BB-0250-43D7-A316-656366FE3C82}" dt="2021-07-12T14:15:40.359" v="2" actId="6549"/>
      <pc:docMkLst>
        <pc:docMk/>
      </pc:docMkLst>
      <pc:sldChg chg="modSp mod">
        <pc:chgData name="Javiera Paz Oliva Castillo" userId="9d0101cc-61b7-4c6c-aea5-51e0d53b0f94" providerId="ADAL" clId="{EAC4B4BB-0250-43D7-A316-656366FE3C82}" dt="2021-07-12T14:10:56.516" v="0" actId="790"/>
        <pc:sldMkLst>
          <pc:docMk/>
          <pc:sldMk cId="1701969055" sldId="258"/>
        </pc:sldMkLst>
        <pc:spChg chg="mod">
          <ac:chgData name="Javiera Paz Oliva Castillo" userId="9d0101cc-61b7-4c6c-aea5-51e0d53b0f94" providerId="ADAL" clId="{EAC4B4BB-0250-43D7-A316-656366FE3C82}" dt="2021-07-12T14:10:56.516" v="0" actId="790"/>
          <ac:spMkLst>
            <pc:docMk/>
            <pc:sldMk cId="1701969055" sldId="258"/>
            <ac:spMk id="28" creationId="{5D1A7C7A-722E-4888-9EBF-35B3DD451200}"/>
          </ac:spMkLst>
        </pc:spChg>
      </pc:sldChg>
      <pc:sldChg chg="modSp mod">
        <pc:chgData name="Javiera Paz Oliva Castillo" userId="9d0101cc-61b7-4c6c-aea5-51e0d53b0f94" providerId="ADAL" clId="{EAC4B4BB-0250-43D7-A316-656366FE3C82}" dt="2021-07-12T14:14:55.696" v="1" actId="20577"/>
        <pc:sldMkLst>
          <pc:docMk/>
          <pc:sldMk cId="4096401067" sldId="269"/>
        </pc:sldMkLst>
        <pc:spChg chg="mod">
          <ac:chgData name="Javiera Paz Oliva Castillo" userId="9d0101cc-61b7-4c6c-aea5-51e0d53b0f94" providerId="ADAL" clId="{EAC4B4BB-0250-43D7-A316-656366FE3C82}" dt="2021-07-12T14:14:55.696" v="1" actId="20577"/>
          <ac:spMkLst>
            <pc:docMk/>
            <pc:sldMk cId="4096401067" sldId="269"/>
            <ac:spMk id="34" creationId="{7797543D-FB49-4999-96DC-B9418CDE0853}"/>
          </ac:spMkLst>
        </pc:spChg>
      </pc:sldChg>
      <pc:sldChg chg="modSp mod">
        <pc:chgData name="Javiera Paz Oliva Castillo" userId="9d0101cc-61b7-4c6c-aea5-51e0d53b0f94" providerId="ADAL" clId="{EAC4B4BB-0250-43D7-A316-656366FE3C82}" dt="2021-07-12T14:15:40.359" v="2" actId="6549"/>
        <pc:sldMkLst>
          <pc:docMk/>
          <pc:sldMk cId="2902984388" sldId="272"/>
        </pc:sldMkLst>
        <pc:spChg chg="mod">
          <ac:chgData name="Javiera Paz Oliva Castillo" userId="9d0101cc-61b7-4c6c-aea5-51e0d53b0f94" providerId="ADAL" clId="{EAC4B4BB-0250-43D7-A316-656366FE3C82}" dt="2021-07-12T14:15:40.359" v="2" actId="6549"/>
          <ac:spMkLst>
            <pc:docMk/>
            <pc:sldMk cId="2902984388" sldId="272"/>
            <ac:spMk id="128" creationId="{8D7BDE37-0F2D-4FF3-8ED6-3D13CE163856}"/>
          </ac:spMkLst>
        </pc:spChg>
      </pc:sldChg>
    </pc:docChg>
  </pc:docChgLst>
  <pc:docChgLst>
    <pc:chgData name="MARIA BELEN ROSBIER GOMEZ" userId="ab041020-a84b-4713-9268-926317edba00" providerId="ADAL" clId="{3376F4FD-CD15-42B0-A2EB-F40FD8342D22}"/>
    <pc:docChg chg="undo custSel modSld">
      <pc:chgData name="MARIA BELEN ROSBIER GOMEZ" userId="ab041020-a84b-4713-9268-926317edba00" providerId="ADAL" clId="{3376F4FD-CD15-42B0-A2EB-F40FD8342D22}" dt="2021-06-15T09:01:10.536" v="131" actId="1036"/>
      <pc:docMkLst>
        <pc:docMk/>
      </pc:docMkLst>
      <pc:sldChg chg="modSp mod">
        <pc:chgData name="MARIA BELEN ROSBIER GOMEZ" userId="ab041020-a84b-4713-9268-926317edba00" providerId="ADAL" clId="{3376F4FD-CD15-42B0-A2EB-F40FD8342D22}" dt="2021-06-15T08:52:19.997" v="14" actId="20577"/>
        <pc:sldMkLst>
          <pc:docMk/>
          <pc:sldMk cId="1701969055" sldId="258"/>
        </pc:sldMkLst>
        <pc:spChg chg="mod">
          <ac:chgData name="MARIA BELEN ROSBIER GOMEZ" userId="ab041020-a84b-4713-9268-926317edba00" providerId="ADAL" clId="{3376F4FD-CD15-42B0-A2EB-F40FD8342D22}" dt="2021-06-15T08:52:19.997" v="14" actId="20577"/>
          <ac:spMkLst>
            <pc:docMk/>
            <pc:sldMk cId="1701969055" sldId="258"/>
            <ac:spMk id="26" creationId="{00000000-0000-0000-0000-000000000000}"/>
          </ac:spMkLst>
        </pc:spChg>
      </pc:sldChg>
      <pc:sldChg chg="addSp delSp modSp mod">
        <pc:chgData name="MARIA BELEN ROSBIER GOMEZ" userId="ab041020-a84b-4713-9268-926317edba00" providerId="ADAL" clId="{3376F4FD-CD15-42B0-A2EB-F40FD8342D22}" dt="2021-06-15T08:59:27.229" v="80" actId="20577"/>
        <pc:sldMkLst>
          <pc:docMk/>
          <pc:sldMk cId="4096401067" sldId="269"/>
        </pc:sldMkLst>
        <pc:spChg chg="mod">
          <ac:chgData name="MARIA BELEN ROSBIER GOMEZ" userId="ab041020-a84b-4713-9268-926317edba00" providerId="ADAL" clId="{3376F4FD-CD15-42B0-A2EB-F40FD8342D22}" dt="2021-06-15T08:56:28.326" v="59" actId="6549"/>
          <ac:spMkLst>
            <pc:docMk/>
            <pc:sldMk cId="4096401067" sldId="269"/>
            <ac:spMk id="2" creationId="{00000000-0000-0000-0000-000000000000}"/>
          </ac:spMkLst>
        </pc:spChg>
        <pc:spChg chg="add mod">
          <ac:chgData name="MARIA BELEN ROSBIER GOMEZ" userId="ab041020-a84b-4713-9268-926317edba00" providerId="ADAL" clId="{3376F4FD-CD15-42B0-A2EB-F40FD8342D22}" dt="2021-06-15T08:59:27.229" v="80" actId="20577"/>
          <ac:spMkLst>
            <pc:docMk/>
            <pc:sldMk cId="4096401067" sldId="269"/>
            <ac:spMk id="33" creationId="{F336CCF9-B7D7-4102-BB49-B529ADBB541F}"/>
          </ac:spMkLst>
        </pc:spChg>
        <pc:spChg chg="mod">
          <ac:chgData name="MARIA BELEN ROSBIER GOMEZ" userId="ab041020-a84b-4713-9268-926317edba00" providerId="ADAL" clId="{3376F4FD-CD15-42B0-A2EB-F40FD8342D22}" dt="2021-06-15T08:56:49.067" v="69" actId="20577"/>
          <ac:spMkLst>
            <pc:docMk/>
            <pc:sldMk cId="4096401067" sldId="269"/>
            <ac:spMk id="62" creationId="{EF37E1F5-05EF-420C-B000-7208C8A86639}"/>
          </ac:spMkLst>
        </pc:spChg>
        <pc:spChg chg="mod">
          <ac:chgData name="MARIA BELEN ROSBIER GOMEZ" userId="ab041020-a84b-4713-9268-926317edba00" providerId="ADAL" clId="{3376F4FD-CD15-42B0-A2EB-F40FD8342D22}" dt="2021-06-15T08:56:43.131" v="64" actId="20577"/>
          <ac:spMkLst>
            <pc:docMk/>
            <pc:sldMk cId="4096401067" sldId="269"/>
            <ac:spMk id="70" creationId="{533576E9-1589-4AF0-9E84-B562A76E0902}"/>
          </ac:spMkLst>
        </pc:spChg>
        <pc:spChg chg="del mod">
          <ac:chgData name="MARIA BELEN ROSBIER GOMEZ" userId="ab041020-a84b-4713-9268-926317edba00" providerId="ADAL" clId="{3376F4FD-CD15-42B0-A2EB-F40FD8342D22}" dt="2021-06-15T08:59:21.109" v="72" actId="478"/>
          <ac:spMkLst>
            <pc:docMk/>
            <pc:sldMk cId="4096401067" sldId="269"/>
            <ac:spMk id="72" creationId="{1EB6F4D0-C615-41EB-B56E-F2D1E168A485}"/>
          </ac:spMkLst>
        </pc:spChg>
      </pc:sldChg>
      <pc:sldChg chg="modSp mod">
        <pc:chgData name="MARIA BELEN ROSBIER GOMEZ" userId="ab041020-a84b-4713-9268-926317edba00" providerId="ADAL" clId="{3376F4FD-CD15-42B0-A2EB-F40FD8342D22}" dt="2021-06-15T08:55:30.565" v="40" actId="20577"/>
        <pc:sldMkLst>
          <pc:docMk/>
          <pc:sldMk cId="3308599872" sldId="270"/>
        </pc:sldMkLst>
        <pc:spChg chg="mod">
          <ac:chgData name="MARIA BELEN ROSBIER GOMEZ" userId="ab041020-a84b-4713-9268-926317edba00" providerId="ADAL" clId="{3376F4FD-CD15-42B0-A2EB-F40FD8342D22}" dt="2021-06-15T08:55:30.565" v="40" actId="20577"/>
          <ac:spMkLst>
            <pc:docMk/>
            <pc:sldMk cId="3308599872" sldId="270"/>
            <ac:spMk id="35" creationId="{00000000-0000-0000-0000-000000000000}"/>
          </ac:spMkLst>
        </pc:spChg>
        <pc:spChg chg="mod">
          <ac:chgData name="MARIA BELEN ROSBIER GOMEZ" userId="ab041020-a84b-4713-9268-926317edba00" providerId="ADAL" clId="{3376F4FD-CD15-42B0-A2EB-F40FD8342D22}" dt="2021-06-15T08:54:24.397" v="35" actId="20577"/>
          <ac:spMkLst>
            <pc:docMk/>
            <pc:sldMk cId="3308599872" sldId="270"/>
            <ac:spMk id="38" creationId="{00000000-0000-0000-0000-000000000000}"/>
          </ac:spMkLst>
        </pc:spChg>
      </pc:sldChg>
      <pc:sldChg chg="addSp delSp modSp mod">
        <pc:chgData name="MARIA BELEN ROSBIER GOMEZ" userId="ab041020-a84b-4713-9268-926317edba00" providerId="ADAL" clId="{3376F4FD-CD15-42B0-A2EB-F40FD8342D22}" dt="2021-06-15T09:01:10.536" v="131" actId="1036"/>
        <pc:sldMkLst>
          <pc:docMk/>
          <pc:sldMk cId="2902984388" sldId="272"/>
        </pc:sldMkLst>
        <pc:spChg chg="add mod">
          <ac:chgData name="MARIA BELEN ROSBIER GOMEZ" userId="ab041020-a84b-4713-9268-926317edba00" providerId="ADAL" clId="{3376F4FD-CD15-42B0-A2EB-F40FD8342D22}" dt="2021-06-15T09:00:54.238" v="120" actId="1076"/>
          <ac:spMkLst>
            <pc:docMk/>
            <pc:sldMk cId="2902984388" sldId="272"/>
            <ac:spMk id="21" creationId="{67E37BA0-2D00-4C26-BD38-684CEFC907E7}"/>
          </ac:spMkLst>
        </pc:spChg>
        <pc:spChg chg="del">
          <ac:chgData name="MARIA BELEN ROSBIER GOMEZ" userId="ab041020-a84b-4713-9268-926317edba00" providerId="ADAL" clId="{3376F4FD-CD15-42B0-A2EB-F40FD8342D22}" dt="2021-06-15T08:59:44.682" v="81" actId="478"/>
          <ac:spMkLst>
            <pc:docMk/>
            <pc:sldMk cId="2902984388" sldId="272"/>
            <ac:spMk id="24" creationId="{33CD1182-93EB-46B3-A4BE-4050F82118A8}"/>
          </ac:spMkLst>
        </pc:spChg>
        <pc:spChg chg="del">
          <ac:chgData name="MARIA BELEN ROSBIER GOMEZ" userId="ab041020-a84b-4713-9268-926317edba00" providerId="ADAL" clId="{3376F4FD-CD15-42B0-A2EB-F40FD8342D22}" dt="2021-06-15T08:59:44.682" v="81" actId="478"/>
          <ac:spMkLst>
            <pc:docMk/>
            <pc:sldMk cId="2902984388" sldId="272"/>
            <ac:spMk id="25" creationId="{210AD7E9-6D9F-4112-8E52-D79C8464C6AA}"/>
          </ac:spMkLst>
        </pc:spChg>
        <pc:spChg chg="del">
          <ac:chgData name="MARIA BELEN ROSBIER GOMEZ" userId="ab041020-a84b-4713-9268-926317edba00" providerId="ADAL" clId="{3376F4FD-CD15-42B0-A2EB-F40FD8342D22}" dt="2021-06-15T08:59:44.682" v="81" actId="478"/>
          <ac:spMkLst>
            <pc:docMk/>
            <pc:sldMk cId="2902984388" sldId="272"/>
            <ac:spMk id="26" creationId="{5680929A-CD37-4A0D-A6A1-2DE3CEF82D9F}"/>
          </ac:spMkLst>
        </pc:spChg>
        <pc:spChg chg="del">
          <ac:chgData name="MARIA BELEN ROSBIER GOMEZ" userId="ab041020-a84b-4713-9268-926317edba00" providerId="ADAL" clId="{3376F4FD-CD15-42B0-A2EB-F40FD8342D22}" dt="2021-06-15T08:59:44.682" v="81" actId="478"/>
          <ac:spMkLst>
            <pc:docMk/>
            <pc:sldMk cId="2902984388" sldId="272"/>
            <ac:spMk id="27" creationId="{27768223-908A-4465-833A-CDE857E24392}"/>
          </ac:spMkLst>
        </pc:spChg>
        <pc:spChg chg="del">
          <ac:chgData name="MARIA BELEN ROSBIER GOMEZ" userId="ab041020-a84b-4713-9268-926317edba00" providerId="ADAL" clId="{3376F4FD-CD15-42B0-A2EB-F40FD8342D22}" dt="2021-06-15T08:59:44.682" v="81" actId="478"/>
          <ac:spMkLst>
            <pc:docMk/>
            <pc:sldMk cId="2902984388" sldId="272"/>
            <ac:spMk id="28" creationId="{FBA0C2E2-D791-43A4-A5D9-F823AB8CACD9}"/>
          </ac:spMkLst>
        </pc:spChg>
        <pc:spChg chg="del">
          <ac:chgData name="MARIA BELEN ROSBIER GOMEZ" userId="ab041020-a84b-4713-9268-926317edba00" providerId="ADAL" clId="{3376F4FD-CD15-42B0-A2EB-F40FD8342D22}" dt="2021-06-15T08:59:44.682" v="81" actId="478"/>
          <ac:spMkLst>
            <pc:docMk/>
            <pc:sldMk cId="2902984388" sldId="272"/>
            <ac:spMk id="29" creationId="{ABE1F8F3-E3EC-4F86-8D1D-13F97E303215}"/>
          </ac:spMkLst>
        </pc:spChg>
        <pc:spChg chg="del">
          <ac:chgData name="MARIA BELEN ROSBIER GOMEZ" userId="ab041020-a84b-4713-9268-926317edba00" providerId="ADAL" clId="{3376F4FD-CD15-42B0-A2EB-F40FD8342D22}" dt="2021-06-15T08:59:44.682" v="81" actId="478"/>
          <ac:spMkLst>
            <pc:docMk/>
            <pc:sldMk cId="2902984388" sldId="272"/>
            <ac:spMk id="30" creationId="{2CC12A54-1153-47E0-B975-2D8B33D79071}"/>
          </ac:spMkLst>
        </pc:spChg>
        <pc:spChg chg="del">
          <ac:chgData name="MARIA BELEN ROSBIER GOMEZ" userId="ab041020-a84b-4713-9268-926317edba00" providerId="ADAL" clId="{3376F4FD-CD15-42B0-A2EB-F40FD8342D22}" dt="2021-06-15T08:59:44.682" v="81" actId="478"/>
          <ac:spMkLst>
            <pc:docMk/>
            <pc:sldMk cId="2902984388" sldId="272"/>
            <ac:spMk id="31" creationId="{283BC5EF-C585-42D6-91E1-986CEF188041}"/>
          </ac:spMkLst>
        </pc:spChg>
        <pc:spChg chg="del">
          <ac:chgData name="MARIA BELEN ROSBIER GOMEZ" userId="ab041020-a84b-4713-9268-926317edba00" providerId="ADAL" clId="{3376F4FD-CD15-42B0-A2EB-F40FD8342D22}" dt="2021-06-15T08:59:44.682" v="81" actId="478"/>
          <ac:spMkLst>
            <pc:docMk/>
            <pc:sldMk cId="2902984388" sldId="272"/>
            <ac:spMk id="32" creationId="{56FA5C43-EE1E-4C16-97A2-98B713D166B4}"/>
          </ac:spMkLst>
        </pc:spChg>
        <pc:spChg chg="del">
          <ac:chgData name="MARIA BELEN ROSBIER GOMEZ" userId="ab041020-a84b-4713-9268-926317edba00" providerId="ADAL" clId="{3376F4FD-CD15-42B0-A2EB-F40FD8342D22}" dt="2021-06-15T08:59:44.682" v="81" actId="478"/>
          <ac:spMkLst>
            <pc:docMk/>
            <pc:sldMk cId="2902984388" sldId="272"/>
            <ac:spMk id="33" creationId="{AC4D0D47-1987-486B-BF1D-69A573C44564}"/>
          </ac:spMkLst>
        </pc:spChg>
        <pc:spChg chg="add mod">
          <ac:chgData name="MARIA BELEN ROSBIER GOMEZ" userId="ab041020-a84b-4713-9268-926317edba00" providerId="ADAL" clId="{3376F4FD-CD15-42B0-A2EB-F40FD8342D22}" dt="2021-06-15T09:00:54.238" v="120" actId="1076"/>
          <ac:spMkLst>
            <pc:docMk/>
            <pc:sldMk cId="2902984388" sldId="272"/>
            <ac:spMk id="34" creationId="{7C3AE844-5F2D-4F4E-B3F9-7C7E22CA24D0}"/>
          </ac:spMkLst>
        </pc:spChg>
        <pc:spChg chg="add mod">
          <ac:chgData name="MARIA BELEN ROSBIER GOMEZ" userId="ab041020-a84b-4713-9268-926317edba00" providerId="ADAL" clId="{3376F4FD-CD15-42B0-A2EB-F40FD8342D22}" dt="2021-06-15T09:01:04.391" v="129" actId="1037"/>
          <ac:spMkLst>
            <pc:docMk/>
            <pc:sldMk cId="2902984388" sldId="272"/>
            <ac:spMk id="35" creationId="{72B13751-CFA1-4A13-93E6-1FB6154A91A9}"/>
          </ac:spMkLst>
        </pc:spChg>
        <pc:spChg chg="add mod">
          <ac:chgData name="MARIA BELEN ROSBIER GOMEZ" userId="ab041020-a84b-4713-9268-926317edba00" providerId="ADAL" clId="{3376F4FD-CD15-42B0-A2EB-F40FD8342D22}" dt="2021-06-15T09:00:54.238" v="120" actId="1076"/>
          <ac:spMkLst>
            <pc:docMk/>
            <pc:sldMk cId="2902984388" sldId="272"/>
            <ac:spMk id="36" creationId="{71D48DBE-C2B5-4162-AAEF-A4E9A9182C66}"/>
          </ac:spMkLst>
        </pc:spChg>
        <pc:spChg chg="add mod">
          <ac:chgData name="MARIA BELEN ROSBIER GOMEZ" userId="ab041020-a84b-4713-9268-926317edba00" providerId="ADAL" clId="{3376F4FD-CD15-42B0-A2EB-F40FD8342D22}" dt="2021-06-15T09:01:10.536" v="131" actId="1036"/>
          <ac:spMkLst>
            <pc:docMk/>
            <pc:sldMk cId="2902984388" sldId="272"/>
            <ac:spMk id="37" creationId="{5674C7BF-813F-4484-951F-FE3EBFD64D7A}"/>
          </ac:spMkLst>
        </pc:spChg>
        <pc:spChg chg="add mod">
          <ac:chgData name="MARIA BELEN ROSBIER GOMEZ" userId="ab041020-a84b-4713-9268-926317edba00" providerId="ADAL" clId="{3376F4FD-CD15-42B0-A2EB-F40FD8342D22}" dt="2021-06-15T09:00:57.961" v="126" actId="1036"/>
          <ac:spMkLst>
            <pc:docMk/>
            <pc:sldMk cId="2902984388" sldId="272"/>
            <ac:spMk id="38" creationId="{5BD45338-C3D6-4A48-A392-D48CBBBCA6D0}"/>
          </ac:spMkLst>
        </pc:spChg>
        <pc:spChg chg="add mod">
          <ac:chgData name="MARIA BELEN ROSBIER GOMEZ" userId="ab041020-a84b-4713-9268-926317edba00" providerId="ADAL" clId="{3376F4FD-CD15-42B0-A2EB-F40FD8342D22}" dt="2021-06-15T09:00:54.238" v="120" actId="1076"/>
          <ac:spMkLst>
            <pc:docMk/>
            <pc:sldMk cId="2902984388" sldId="272"/>
            <ac:spMk id="39" creationId="{132E1852-92ED-486C-BF0D-7D907E52AD15}"/>
          </ac:spMkLst>
        </pc:spChg>
        <pc:spChg chg="add mod">
          <ac:chgData name="MARIA BELEN ROSBIER GOMEZ" userId="ab041020-a84b-4713-9268-926317edba00" providerId="ADAL" clId="{3376F4FD-CD15-42B0-A2EB-F40FD8342D22}" dt="2021-06-15T09:00:54.238" v="120" actId="1076"/>
          <ac:spMkLst>
            <pc:docMk/>
            <pc:sldMk cId="2902984388" sldId="272"/>
            <ac:spMk id="40" creationId="{22661FA2-107A-423F-A723-5467C7C7FD1D}"/>
          </ac:spMkLst>
        </pc:spChg>
        <pc:spChg chg="add mod">
          <ac:chgData name="MARIA BELEN ROSBIER GOMEZ" userId="ab041020-a84b-4713-9268-926317edba00" providerId="ADAL" clId="{3376F4FD-CD15-42B0-A2EB-F40FD8342D22}" dt="2021-06-15T09:01:00.529" v="128" actId="1038"/>
          <ac:spMkLst>
            <pc:docMk/>
            <pc:sldMk cId="2902984388" sldId="272"/>
            <ac:spMk id="41" creationId="{B2C614F2-E0E3-4D76-8A04-652825485C33}"/>
          </ac:spMkLst>
        </pc:spChg>
        <pc:spChg chg="add mod">
          <ac:chgData name="MARIA BELEN ROSBIER GOMEZ" userId="ab041020-a84b-4713-9268-926317edba00" providerId="ADAL" clId="{3376F4FD-CD15-42B0-A2EB-F40FD8342D22}" dt="2021-06-15T09:00:54.238" v="120" actId="1076"/>
          <ac:spMkLst>
            <pc:docMk/>
            <pc:sldMk cId="2902984388" sldId="272"/>
            <ac:spMk id="43" creationId="{F6743357-48E2-4983-9256-54E97EDBC220}"/>
          </ac:spMkLst>
        </pc:spChg>
        <pc:spChg chg="mod">
          <ac:chgData name="MARIA BELEN ROSBIER GOMEZ" userId="ab041020-a84b-4713-9268-926317edba00" providerId="ADAL" clId="{3376F4FD-CD15-42B0-A2EB-F40FD8342D22}" dt="2021-06-15T08:57:15.104" v="70"/>
          <ac:spMkLst>
            <pc:docMk/>
            <pc:sldMk cId="2902984388" sldId="272"/>
            <ac:spMk id="128" creationId="{8D7BDE37-0F2D-4FF3-8ED6-3D13CE163856}"/>
          </ac:spMkLst>
        </pc:spChg>
      </pc:sldChg>
      <pc:sldChg chg="modSp mod">
        <pc:chgData name="MARIA BELEN ROSBIER GOMEZ" userId="ab041020-a84b-4713-9268-926317edba00" providerId="ADAL" clId="{3376F4FD-CD15-42B0-A2EB-F40FD8342D22}" dt="2021-06-15T08:51:13.507" v="3" actId="20577"/>
        <pc:sldMkLst>
          <pc:docMk/>
          <pc:sldMk cId="1411604850" sldId="277"/>
        </pc:sldMkLst>
        <pc:spChg chg="mod">
          <ac:chgData name="MARIA BELEN ROSBIER GOMEZ" userId="ab041020-a84b-4713-9268-926317edba00" providerId="ADAL" clId="{3376F4FD-CD15-42B0-A2EB-F40FD8342D22}" dt="2021-06-15T08:51:13.507" v="3" actId="20577"/>
          <ac:spMkLst>
            <pc:docMk/>
            <pc:sldMk cId="1411604850" sldId="277"/>
            <ac:spMk id="18" creationId="{00000000-0000-0000-0000-000000000000}"/>
          </ac:spMkLst>
        </pc:spChg>
      </pc:sldChg>
      <pc:sldChg chg="modSp mod">
        <pc:chgData name="MARIA BELEN ROSBIER GOMEZ" userId="ab041020-a84b-4713-9268-926317edba00" providerId="ADAL" clId="{3376F4FD-CD15-42B0-A2EB-F40FD8342D22}" dt="2021-06-15T08:56:05.051" v="48" actId="20577"/>
        <pc:sldMkLst>
          <pc:docMk/>
          <pc:sldMk cId="1216571049" sldId="278"/>
        </pc:sldMkLst>
        <pc:spChg chg="mod">
          <ac:chgData name="MARIA BELEN ROSBIER GOMEZ" userId="ab041020-a84b-4713-9268-926317edba00" providerId="ADAL" clId="{3376F4FD-CD15-42B0-A2EB-F40FD8342D22}" dt="2021-06-15T08:56:05.051" v="48" actId="20577"/>
          <ac:spMkLst>
            <pc:docMk/>
            <pc:sldMk cId="1216571049" sldId="278"/>
            <ac:spMk id="24" creationId="{19E9C0F4-5D40-4479-AB23-4527B5AB6E9D}"/>
          </ac:spMkLst>
        </pc:spChg>
        <pc:spChg chg="mod">
          <ac:chgData name="MARIA BELEN ROSBIER GOMEZ" userId="ab041020-a84b-4713-9268-926317edba00" providerId="ADAL" clId="{3376F4FD-CD15-42B0-A2EB-F40FD8342D22}" dt="2021-06-15T08:55:56.411" v="43"/>
          <ac:spMkLst>
            <pc:docMk/>
            <pc:sldMk cId="1216571049" sldId="278"/>
            <ac:spMk id="42" creationId="{02EE4D91-62A6-4D30-A0F4-2401D59EC7FE}"/>
          </ac:spMkLst>
        </pc:spChg>
      </pc:sldChg>
    </pc:docChg>
  </pc:docChgLst>
  <pc:docChgLst>
    <pc:chgData name="Juan Alvarez" userId="73e3f63f-ddc7-4753-991c-f12dec12c995" providerId="ADAL" clId="{1391383E-B08E-4CEC-B220-DE2A60714EB9}"/>
    <pc:docChg chg="undo redo custSel modSld">
      <pc:chgData name="Juan Alvarez" userId="73e3f63f-ddc7-4753-991c-f12dec12c995" providerId="ADAL" clId="{1391383E-B08E-4CEC-B220-DE2A60714EB9}" dt="2021-06-14T08:12:05.163" v="179"/>
      <pc:docMkLst>
        <pc:docMk/>
      </pc:docMkLst>
      <pc:sldChg chg="modSp mod">
        <pc:chgData name="Juan Alvarez" userId="73e3f63f-ddc7-4753-991c-f12dec12c995" providerId="ADAL" clId="{1391383E-B08E-4CEC-B220-DE2A60714EB9}" dt="2021-06-14T08:11:53.913" v="178" actId="6549"/>
        <pc:sldMkLst>
          <pc:docMk/>
          <pc:sldMk cId="4096401067" sldId="269"/>
        </pc:sldMkLst>
        <pc:spChg chg="mod">
          <ac:chgData name="Juan Alvarez" userId="73e3f63f-ddc7-4753-991c-f12dec12c995" providerId="ADAL" clId="{1391383E-B08E-4CEC-B220-DE2A60714EB9}" dt="2021-06-14T08:11:53.913" v="178" actId="6549"/>
          <ac:spMkLst>
            <pc:docMk/>
            <pc:sldMk cId="4096401067" sldId="269"/>
            <ac:spMk id="2" creationId="{00000000-0000-0000-0000-000000000000}"/>
          </ac:spMkLst>
        </pc:spChg>
        <pc:spChg chg="mod">
          <ac:chgData name="Juan Alvarez" userId="73e3f63f-ddc7-4753-991c-f12dec12c995" providerId="ADAL" clId="{1391383E-B08E-4CEC-B220-DE2A60714EB9}" dt="2021-06-14T08:10:30.148" v="102"/>
          <ac:spMkLst>
            <pc:docMk/>
            <pc:sldMk cId="4096401067" sldId="269"/>
            <ac:spMk id="62" creationId="{EF37E1F5-05EF-420C-B000-7208C8A86639}"/>
          </ac:spMkLst>
        </pc:spChg>
      </pc:sldChg>
      <pc:sldChg chg="modSp mod">
        <pc:chgData name="Juan Alvarez" userId="73e3f63f-ddc7-4753-991c-f12dec12c995" providerId="ADAL" clId="{1391383E-B08E-4CEC-B220-DE2A60714EB9}" dt="2021-06-14T06:59:18.827" v="44" actId="6549"/>
        <pc:sldMkLst>
          <pc:docMk/>
          <pc:sldMk cId="3308599872" sldId="270"/>
        </pc:sldMkLst>
        <pc:spChg chg="mod">
          <ac:chgData name="Juan Alvarez" userId="73e3f63f-ddc7-4753-991c-f12dec12c995" providerId="ADAL" clId="{1391383E-B08E-4CEC-B220-DE2A60714EB9}" dt="2021-06-14T06:59:18.827" v="44" actId="6549"/>
          <ac:spMkLst>
            <pc:docMk/>
            <pc:sldMk cId="3308599872" sldId="270"/>
            <ac:spMk id="38" creationId="{00000000-0000-0000-0000-000000000000}"/>
          </ac:spMkLst>
        </pc:spChg>
      </pc:sldChg>
      <pc:sldChg chg="modSp mod">
        <pc:chgData name="Juan Alvarez" userId="73e3f63f-ddc7-4753-991c-f12dec12c995" providerId="ADAL" clId="{1391383E-B08E-4CEC-B220-DE2A60714EB9}" dt="2021-06-14T08:12:05.163" v="179"/>
        <pc:sldMkLst>
          <pc:docMk/>
          <pc:sldMk cId="2902984388" sldId="272"/>
        </pc:sldMkLst>
        <pc:spChg chg="mod">
          <ac:chgData name="Juan Alvarez" userId="73e3f63f-ddc7-4753-991c-f12dec12c995" providerId="ADAL" clId="{1391383E-B08E-4CEC-B220-DE2A60714EB9}" dt="2021-06-14T08:10:09.857" v="101" actId="6549"/>
          <ac:spMkLst>
            <pc:docMk/>
            <pc:sldMk cId="2902984388" sldId="272"/>
            <ac:spMk id="30" creationId="{2CC12A54-1153-47E0-B975-2D8B33D79071}"/>
          </ac:spMkLst>
        </pc:spChg>
        <pc:spChg chg="mod">
          <ac:chgData name="Juan Alvarez" userId="73e3f63f-ddc7-4753-991c-f12dec12c995" providerId="ADAL" clId="{1391383E-B08E-4CEC-B220-DE2A60714EB9}" dt="2021-06-14T08:12:05.163" v="179"/>
          <ac:spMkLst>
            <pc:docMk/>
            <pc:sldMk cId="2902984388" sldId="272"/>
            <ac:spMk id="128" creationId="{8D7BDE37-0F2D-4FF3-8ED6-3D13CE163856}"/>
          </ac:spMkLst>
        </pc:spChg>
      </pc:sldChg>
      <pc:sldChg chg="modSp mod">
        <pc:chgData name="Juan Alvarez" userId="73e3f63f-ddc7-4753-991c-f12dec12c995" providerId="ADAL" clId="{1391383E-B08E-4CEC-B220-DE2A60714EB9}" dt="2021-06-14T06:59:13.626" v="32" actId="6549"/>
        <pc:sldMkLst>
          <pc:docMk/>
          <pc:sldMk cId="1216571049" sldId="278"/>
        </pc:sldMkLst>
        <pc:spChg chg="mod">
          <ac:chgData name="Juan Alvarez" userId="73e3f63f-ddc7-4753-991c-f12dec12c995" providerId="ADAL" clId="{1391383E-B08E-4CEC-B220-DE2A60714EB9}" dt="2021-06-14T06:59:13.626" v="32" actId="6549"/>
          <ac:spMkLst>
            <pc:docMk/>
            <pc:sldMk cId="1216571049" sldId="278"/>
            <ac:spMk id="42" creationId="{02EE4D91-62A6-4D30-A0F4-2401D59EC7FE}"/>
          </ac:spMkLst>
        </pc:sp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8E93CD36-E845-41DC-99F7-FAC81A2EB465}" type="datetimeFigureOut">
              <a:rPr lang="en-US" smtClean="0"/>
              <a:t>7/14/2021</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3982C292-D27A-4164-8320-09961BCE9FE9}" type="slidenum">
              <a:rPr lang="en-US" smtClean="0"/>
              <a:t>‹#›</a:t>
            </a:fld>
            <a:endParaRPr lang="en-US"/>
          </a:p>
        </p:txBody>
      </p:sp>
    </p:spTree>
    <p:extLst>
      <p:ext uri="{BB962C8B-B14F-4D97-AF65-F5344CB8AC3E}">
        <p14:creationId xmlns:p14="http://schemas.microsoft.com/office/powerpoint/2010/main" val="397915562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A55CF2-256D-44FD-9430-5B63A079CF5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1151513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A55CF2-256D-44FD-9430-5B63A079CF5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422749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A55CF2-256D-44FD-9430-5B63A079CF5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7110840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A55CF2-256D-44FD-9430-5B63A079CF5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8454250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A55CF2-256D-44FD-9430-5B63A079CF5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7110840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A55CF2-256D-44FD-9430-5B63A079CF5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5124961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DD60F08D-79BA-4C6C-9E4A-797A04DDDFD1}" type="datetimeFigureOut">
              <a:rPr lang="en-US" smtClean="0"/>
              <a:t>7/14/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AA50C25E-F9E0-48FE-8C8A-045A00C98220}" type="slidenum">
              <a:rPr lang="en-US" smtClean="0"/>
              <a:t>‹#›</a:t>
            </a:fld>
            <a:endParaRPr lang="en-US"/>
          </a:p>
        </p:txBody>
      </p:sp>
    </p:spTree>
    <p:extLst>
      <p:ext uri="{BB962C8B-B14F-4D97-AF65-F5344CB8AC3E}">
        <p14:creationId xmlns:p14="http://schemas.microsoft.com/office/powerpoint/2010/main" val="157177857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DD60F08D-79BA-4C6C-9E4A-797A04DDDFD1}" type="datetimeFigureOut">
              <a:rPr lang="en-US" smtClean="0"/>
              <a:t>7/14/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AA50C25E-F9E0-48FE-8C8A-045A00C98220}" type="slidenum">
              <a:rPr lang="en-US" smtClean="0"/>
              <a:t>‹#›</a:t>
            </a:fld>
            <a:endParaRPr lang="en-US"/>
          </a:p>
        </p:txBody>
      </p:sp>
    </p:spTree>
    <p:extLst>
      <p:ext uri="{BB962C8B-B14F-4D97-AF65-F5344CB8AC3E}">
        <p14:creationId xmlns:p14="http://schemas.microsoft.com/office/powerpoint/2010/main" val="403998388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DD60F08D-79BA-4C6C-9E4A-797A04DDDFD1}" type="datetimeFigureOut">
              <a:rPr lang="en-US" smtClean="0"/>
              <a:t>7/14/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AA50C25E-F9E0-48FE-8C8A-045A00C98220}" type="slidenum">
              <a:rPr lang="en-US" smtClean="0"/>
              <a:t>‹#›</a:t>
            </a:fld>
            <a:endParaRPr lang="en-US"/>
          </a:p>
        </p:txBody>
      </p:sp>
    </p:spTree>
    <p:extLst>
      <p:ext uri="{BB962C8B-B14F-4D97-AF65-F5344CB8AC3E}">
        <p14:creationId xmlns:p14="http://schemas.microsoft.com/office/powerpoint/2010/main" val="97199633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DD60F08D-79BA-4C6C-9E4A-797A04DDDFD1}" type="datetimeFigureOut">
              <a:rPr lang="en-US" smtClean="0"/>
              <a:t>7/14/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AA50C25E-F9E0-48FE-8C8A-045A00C98220}" type="slidenum">
              <a:rPr lang="en-US" smtClean="0"/>
              <a:t>‹#›</a:t>
            </a:fld>
            <a:endParaRPr lang="en-US"/>
          </a:p>
        </p:txBody>
      </p:sp>
    </p:spTree>
    <p:extLst>
      <p:ext uri="{BB962C8B-B14F-4D97-AF65-F5344CB8AC3E}">
        <p14:creationId xmlns:p14="http://schemas.microsoft.com/office/powerpoint/2010/main" val="271136383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DD60F08D-79BA-4C6C-9E4A-797A04DDDFD1}" type="datetimeFigureOut">
              <a:rPr lang="en-US" smtClean="0"/>
              <a:t>7/14/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AA50C25E-F9E0-48FE-8C8A-045A00C98220}" type="slidenum">
              <a:rPr lang="en-US" smtClean="0"/>
              <a:t>‹#›</a:t>
            </a:fld>
            <a:endParaRPr lang="en-US"/>
          </a:p>
        </p:txBody>
      </p:sp>
    </p:spTree>
    <p:extLst>
      <p:ext uri="{BB962C8B-B14F-4D97-AF65-F5344CB8AC3E}">
        <p14:creationId xmlns:p14="http://schemas.microsoft.com/office/powerpoint/2010/main" val="422116542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DD60F08D-79BA-4C6C-9E4A-797A04DDDFD1}" type="datetimeFigureOut">
              <a:rPr lang="en-US" smtClean="0"/>
              <a:t>7/14/2021</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AA50C25E-F9E0-48FE-8C8A-045A00C98220}" type="slidenum">
              <a:rPr lang="en-US" smtClean="0"/>
              <a:t>‹#›</a:t>
            </a:fld>
            <a:endParaRPr lang="en-US"/>
          </a:p>
        </p:txBody>
      </p:sp>
    </p:spTree>
    <p:extLst>
      <p:ext uri="{BB962C8B-B14F-4D97-AF65-F5344CB8AC3E}">
        <p14:creationId xmlns:p14="http://schemas.microsoft.com/office/powerpoint/2010/main" val="263610426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DD60F08D-79BA-4C6C-9E4A-797A04DDDFD1}" type="datetimeFigureOut">
              <a:rPr lang="en-US" smtClean="0"/>
              <a:t>7/14/2021</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AA50C25E-F9E0-48FE-8C8A-045A00C98220}" type="slidenum">
              <a:rPr lang="en-US" smtClean="0"/>
              <a:t>‹#›</a:t>
            </a:fld>
            <a:endParaRPr lang="en-US"/>
          </a:p>
        </p:txBody>
      </p:sp>
    </p:spTree>
    <p:extLst>
      <p:ext uri="{BB962C8B-B14F-4D97-AF65-F5344CB8AC3E}">
        <p14:creationId xmlns:p14="http://schemas.microsoft.com/office/powerpoint/2010/main" val="279962250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DD60F08D-79BA-4C6C-9E4A-797A04DDDFD1}" type="datetimeFigureOut">
              <a:rPr lang="en-US" smtClean="0"/>
              <a:t>7/14/2021</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AA50C25E-F9E0-48FE-8C8A-045A00C98220}" type="slidenum">
              <a:rPr lang="en-US" smtClean="0"/>
              <a:t>‹#›</a:t>
            </a:fld>
            <a:endParaRPr lang="en-US"/>
          </a:p>
        </p:txBody>
      </p:sp>
    </p:spTree>
    <p:extLst>
      <p:ext uri="{BB962C8B-B14F-4D97-AF65-F5344CB8AC3E}">
        <p14:creationId xmlns:p14="http://schemas.microsoft.com/office/powerpoint/2010/main" val="350229168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DD60F08D-79BA-4C6C-9E4A-797A04DDDFD1}" type="datetimeFigureOut">
              <a:rPr lang="en-US" smtClean="0"/>
              <a:t>7/14/2021</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AA50C25E-F9E0-48FE-8C8A-045A00C98220}" type="slidenum">
              <a:rPr lang="en-US" smtClean="0"/>
              <a:t>‹#›</a:t>
            </a:fld>
            <a:endParaRPr lang="en-US"/>
          </a:p>
        </p:txBody>
      </p:sp>
    </p:spTree>
    <p:extLst>
      <p:ext uri="{BB962C8B-B14F-4D97-AF65-F5344CB8AC3E}">
        <p14:creationId xmlns:p14="http://schemas.microsoft.com/office/powerpoint/2010/main" val="197240499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DD60F08D-79BA-4C6C-9E4A-797A04DDDFD1}" type="datetimeFigureOut">
              <a:rPr lang="en-US" smtClean="0"/>
              <a:t>7/14/2021</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AA50C25E-F9E0-48FE-8C8A-045A00C98220}" type="slidenum">
              <a:rPr lang="en-US" smtClean="0"/>
              <a:t>‹#›</a:t>
            </a:fld>
            <a:endParaRPr lang="en-US"/>
          </a:p>
        </p:txBody>
      </p:sp>
    </p:spTree>
    <p:extLst>
      <p:ext uri="{BB962C8B-B14F-4D97-AF65-F5344CB8AC3E}">
        <p14:creationId xmlns:p14="http://schemas.microsoft.com/office/powerpoint/2010/main" val="210128626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DD60F08D-79BA-4C6C-9E4A-797A04DDDFD1}" type="datetimeFigureOut">
              <a:rPr lang="en-US" smtClean="0"/>
              <a:t>7/14/2021</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AA50C25E-F9E0-48FE-8C8A-045A00C98220}" type="slidenum">
              <a:rPr lang="en-US" smtClean="0"/>
              <a:t>‹#›</a:t>
            </a:fld>
            <a:endParaRPr lang="en-US"/>
          </a:p>
        </p:txBody>
      </p:sp>
    </p:spTree>
    <p:extLst>
      <p:ext uri="{BB962C8B-B14F-4D97-AF65-F5344CB8AC3E}">
        <p14:creationId xmlns:p14="http://schemas.microsoft.com/office/powerpoint/2010/main" val="217179217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DD60F08D-79BA-4C6C-9E4A-797A04DDDFD1}" type="datetimeFigureOut">
              <a:rPr lang="en-US" smtClean="0"/>
              <a:t>7/14/2021</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AA50C25E-F9E0-48FE-8C8A-045A00C98220}" type="slidenum">
              <a:rPr lang="en-US" smtClean="0"/>
              <a:t>‹#›</a:t>
            </a:fld>
            <a:endParaRPr lang="en-US"/>
          </a:p>
        </p:txBody>
      </p:sp>
    </p:spTree>
    <p:extLst>
      <p:ext uri="{BB962C8B-B14F-4D97-AF65-F5344CB8AC3E}">
        <p14:creationId xmlns:p14="http://schemas.microsoft.com/office/powerpoint/2010/main" val="1545027606"/>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jpeg"/><Relationship Id="rId2" Type="http://schemas.openxmlformats.org/officeDocument/2006/relationships/slideLayout" Target="../slideLayouts/slideLayout2.xml"/><Relationship Id="rId1" Type="http://schemas.openxmlformats.org/officeDocument/2006/relationships/tags" Target="../tags/tag2.xml"/><Relationship Id="rId4" Type="http://schemas.openxmlformats.org/officeDocument/2006/relationships/image" Target="../media/image2.emf"/></Relationships>
</file>

<file path=ppt/slides/_rels/slide2.xml.rels><?xml version="1.0" encoding="UTF-8" standalone="yes"?>
<Relationships xmlns="http://schemas.openxmlformats.org/package/2006/relationships"><Relationship Id="rId8" Type="http://schemas.openxmlformats.org/officeDocument/2006/relationships/tags" Target="../tags/tag10.xml"/><Relationship Id="rId13" Type="http://schemas.openxmlformats.org/officeDocument/2006/relationships/tags" Target="../tags/tag15.xml"/><Relationship Id="rId18" Type="http://schemas.openxmlformats.org/officeDocument/2006/relationships/tags" Target="../tags/tag20.xml"/><Relationship Id="rId26" Type="http://schemas.openxmlformats.org/officeDocument/2006/relationships/slideLayout" Target="../slideLayouts/slideLayout1.xml"/><Relationship Id="rId3" Type="http://schemas.openxmlformats.org/officeDocument/2006/relationships/tags" Target="../tags/tag5.xml"/><Relationship Id="rId21" Type="http://schemas.openxmlformats.org/officeDocument/2006/relationships/tags" Target="../tags/tag23.xml"/><Relationship Id="rId7" Type="http://schemas.openxmlformats.org/officeDocument/2006/relationships/tags" Target="../tags/tag9.xml"/><Relationship Id="rId12" Type="http://schemas.openxmlformats.org/officeDocument/2006/relationships/tags" Target="../tags/tag14.xml"/><Relationship Id="rId17" Type="http://schemas.openxmlformats.org/officeDocument/2006/relationships/tags" Target="../tags/tag19.xml"/><Relationship Id="rId25" Type="http://schemas.openxmlformats.org/officeDocument/2006/relationships/tags" Target="../tags/tag27.xml"/><Relationship Id="rId2" Type="http://schemas.openxmlformats.org/officeDocument/2006/relationships/tags" Target="../tags/tag4.xml"/><Relationship Id="rId16" Type="http://schemas.openxmlformats.org/officeDocument/2006/relationships/tags" Target="../tags/tag18.xml"/><Relationship Id="rId20" Type="http://schemas.openxmlformats.org/officeDocument/2006/relationships/tags" Target="../tags/tag22.xml"/><Relationship Id="rId1" Type="http://schemas.openxmlformats.org/officeDocument/2006/relationships/tags" Target="../tags/tag3.xml"/><Relationship Id="rId6" Type="http://schemas.openxmlformats.org/officeDocument/2006/relationships/tags" Target="../tags/tag8.xml"/><Relationship Id="rId11" Type="http://schemas.openxmlformats.org/officeDocument/2006/relationships/tags" Target="../tags/tag13.xml"/><Relationship Id="rId24" Type="http://schemas.openxmlformats.org/officeDocument/2006/relationships/tags" Target="../tags/tag26.xml"/><Relationship Id="rId5" Type="http://schemas.openxmlformats.org/officeDocument/2006/relationships/tags" Target="../tags/tag7.xml"/><Relationship Id="rId15" Type="http://schemas.openxmlformats.org/officeDocument/2006/relationships/tags" Target="../tags/tag17.xml"/><Relationship Id="rId23" Type="http://schemas.openxmlformats.org/officeDocument/2006/relationships/tags" Target="../tags/tag25.xml"/><Relationship Id="rId10" Type="http://schemas.openxmlformats.org/officeDocument/2006/relationships/tags" Target="../tags/tag12.xml"/><Relationship Id="rId19" Type="http://schemas.openxmlformats.org/officeDocument/2006/relationships/tags" Target="../tags/tag21.xml"/><Relationship Id="rId4" Type="http://schemas.openxmlformats.org/officeDocument/2006/relationships/tags" Target="../tags/tag6.xml"/><Relationship Id="rId9" Type="http://schemas.openxmlformats.org/officeDocument/2006/relationships/tags" Target="../tags/tag11.xml"/><Relationship Id="rId14" Type="http://schemas.openxmlformats.org/officeDocument/2006/relationships/tags" Target="../tags/tag16.xml"/><Relationship Id="rId22" Type="http://schemas.openxmlformats.org/officeDocument/2006/relationships/tags" Target="../tags/tag24.xml"/><Relationship Id="rId27" Type="http://schemas.openxmlformats.org/officeDocument/2006/relationships/notesSlide" Target="../notesSlides/notesSlide1.xml"/></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1.xml"/><Relationship Id="rId1" Type="http://schemas.openxmlformats.org/officeDocument/2006/relationships/tags" Target="../tags/tag28.xml"/><Relationship Id="rId4" Type="http://schemas.openxmlformats.org/officeDocument/2006/relationships/image" Target="../media/image3.png"/></Relationships>
</file>

<file path=ppt/slides/_rels/slide4.xml.rels><?xml version="1.0" encoding="UTF-8" standalone="yes"?>
<Relationships xmlns="http://schemas.openxmlformats.org/package/2006/relationships"><Relationship Id="rId3" Type="http://schemas.openxmlformats.org/officeDocument/2006/relationships/tags" Target="../tags/tag31.xml"/><Relationship Id="rId2" Type="http://schemas.openxmlformats.org/officeDocument/2006/relationships/tags" Target="../tags/tag30.xml"/><Relationship Id="rId1" Type="http://schemas.openxmlformats.org/officeDocument/2006/relationships/tags" Target="../tags/tag29.xml"/><Relationship Id="rId5" Type="http://schemas.openxmlformats.org/officeDocument/2006/relationships/notesSlide" Target="../notesSlides/notesSlide3.xml"/><Relationship Id="rId4" Type="http://schemas.openxmlformats.org/officeDocument/2006/relationships/slideLayout" Target="../slideLayouts/slideLayout1.xml"/></Relationships>
</file>

<file path=ppt/slides/_rels/slide5.xml.rels><?xml version="1.0" encoding="UTF-8" standalone="yes"?>
<Relationships xmlns="http://schemas.openxmlformats.org/package/2006/relationships"><Relationship Id="rId3" Type="http://schemas.openxmlformats.org/officeDocument/2006/relationships/tags" Target="../tags/tag34.xml"/><Relationship Id="rId2" Type="http://schemas.openxmlformats.org/officeDocument/2006/relationships/tags" Target="../tags/tag33.xml"/><Relationship Id="rId1" Type="http://schemas.openxmlformats.org/officeDocument/2006/relationships/tags" Target="../tags/tag32.xml"/><Relationship Id="rId5" Type="http://schemas.openxmlformats.org/officeDocument/2006/relationships/notesSlide" Target="../notesSlides/notesSlide4.xml"/><Relationship Id="rId4" Type="http://schemas.openxmlformats.org/officeDocument/2006/relationships/slideLayout" Target="../slideLayouts/slideLayout1.xml"/></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1.xml"/><Relationship Id="rId1" Type="http://schemas.openxmlformats.org/officeDocument/2006/relationships/tags" Target="../tags/tag35.xml"/></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1.xml"/><Relationship Id="rId1" Type="http://schemas.openxmlformats.org/officeDocument/2006/relationships/tags" Target="../tags/tag3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4" name="Group 13"/>
          <p:cNvGrpSpPr/>
          <p:nvPr/>
        </p:nvGrpSpPr>
        <p:grpSpPr>
          <a:xfrm>
            <a:off x="0" y="1537335"/>
            <a:ext cx="7560310" cy="3915410"/>
            <a:chOff x="0" y="4889"/>
            <a:chExt cx="11906" cy="6166"/>
          </a:xfrm>
        </p:grpSpPr>
        <p:pic>
          <p:nvPicPr>
            <p:cNvPr id="15" name="Picture 14"/>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auto">
            <a:xfrm>
              <a:off x="0" y="4889"/>
              <a:ext cx="11906" cy="61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Rectangle 15"/>
            <p:cNvSpPr>
              <a:spLocks noChangeArrowheads="1"/>
            </p:cNvSpPr>
            <p:nvPr/>
          </p:nvSpPr>
          <p:spPr bwMode="auto">
            <a:xfrm>
              <a:off x="0" y="6633"/>
              <a:ext cx="10630" cy="3175"/>
            </a:xfrm>
            <a:prstGeom prst="rect">
              <a:avLst/>
            </a:prstGeom>
            <a:solidFill>
              <a:srgbClr val="009ADA">
                <a:alpha val="89999"/>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rot="0" vert="horz" wrap="square" anchor="t" anchorCtr="0" upright="1"/>
            <a:lstStyle/>
            <a:p>
              <a:endParaRPr lang="en-US"/>
            </a:p>
          </p:txBody>
        </p:sp>
        <p:cxnSp>
          <p:nvCxnSpPr>
            <p:cNvPr id="17" name="Line 114"/>
            <p:cNvCxnSpPr>
              <a:cxnSpLocks noChangeShapeType="1"/>
            </p:cNvCxnSpPr>
            <p:nvPr/>
          </p:nvCxnSpPr>
          <p:spPr bwMode="auto">
            <a:xfrm>
              <a:off x="2272" y="8597"/>
              <a:ext cx="8157" cy="0"/>
            </a:xfrm>
            <a:prstGeom prst="line">
              <a:avLst/>
            </a:prstGeom>
            <a:noFill/>
            <a:ln w="12700">
              <a:solidFill>
                <a:srgbClr val="FFFFFF"/>
              </a:solidFill>
              <a:round/>
              <a:headEnd/>
              <a:tailEnd/>
            </a:ln>
            <a:extLst>
              <a:ext uri="{909E8E84-426E-40DD-AFC4-6F175D3DCCD1}">
                <a14:hiddenFill xmlns:a14="http://schemas.microsoft.com/office/drawing/2010/main">
                  <a:noFill/>
                </a14:hiddenFill>
              </a:ext>
            </a:extLst>
          </p:spPr>
        </p:cxnSp>
        <p:sp>
          <p:nvSpPr>
            <p:cNvPr id="18" name="Text Box 113"/>
            <p:cNvSpPr txBox="1">
              <a:spLocks noChangeArrowheads="1"/>
            </p:cNvSpPr>
            <p:nvPr/>
          </p:nvSpPr>
          <p:spPr bwMode="auto">
            <a:xfrm>
              <a:off x="0" y="4889"/>
              <a:ext cx="11400" cy="61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rot="0" vert="horz" wrap="square" lIns="0" tIns="0" rIns="0" bIns="0" anchor="t" anchorCtr="0" upright="1"/>
            <a:lstStyle/>
            <a:p>
              <a:pPr>
                <a:lnSpc>
                  <a:spcPct val="107000"/>
                </a:lnSpc>
                <a:spcAft>
                  <a:spcPts val="800"/>
                </a:spcAft>
              </a:pPr>
              <a:r>
                <a:rPr lang="en-GB" sz="3600" dirty="0">
                  <a:effectLst/>
                  <a:latin typeface="Times New Roman" panose="02020603050405020304" pitchFamily="18" charset="0"/>
                  <a:ea typeface="Calibri" panose="020F0502020204030204" pitchFamily="34" charset="0"/>
                  <a:cs typeface="Times New Roman" panose="02020603050405020304" pitchFamily="18" charset="0"/>
                </a:rPr>
                <a:t> </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p>
              <a:pPr marL="1442720" marR="776605">
                <a:lnSpc>
                  <a:spcPct val="98000"/>
                </a:lnSpc>
                <a:spcAft>
                  <a:spcPts val="800"/>
                </a:spcAft>
              </a:pPr>
              <a:r>
                <a:rPr lang="en-GB" sz="3000" b="1" spc="-30" dirty="0">
                  <a:solidFill>
                    <a:srgbClr val="FFFFFF"/>
                  </a:solidFill>
                  <a:effectLst/>
                  <a:latin typeface="Calibri" panose="020F0502020204030204" pitchFamily="34" charset="0"/>
                  <a:ea typeface="Calibri" panose="020F0502020204030204" pitchFamily="34" charset="0"/>
                  <a:cs typeface="Times New Roman" panose="02020603050405020304" pitchFamily="18" charset="0"/>
                </a:rPr>
                <a:t> </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p>
              <a:pPr marL="1443990" marR="777875">
                <a:lnSpc>
                  <a:spcPct val="99000"/>
                </a:lnSpc>
                <a:spcAft>
                  <a:spcPts val="500"/>
                </a:spcAft>
              </a:pPr>
              <a:r>
                <a:rPr lang="en-US" sz="3000" b="1" spc="-30" dirty="0">
                  <a:solidFill>
                    <a:srgbClr val="FFFFFF"/>
                  </a:solidFill>
                  <a:effectLst/>
                  <a:latin typeface="Verdana" panose="020B0604030504040204" pitchFamily="34" charset="0"/>
                  <a:ea typeface="Calibri" panose="020F0502020204030204" pitchFamily="34" charset="0"/>
                  <a:cs typeface="Times New Roman" panose="02020603050405020304" pitchFamily="18" charset="0"/>
                </a:rPr>
                <a:t>Process Puzzle</a:t>
              </a:r>
              <a:endParaRPr lang="en-GB" sz="1800" dirty="0">
                <a:solidFill>
                  <a:srgbClr val="FFFFFF"/>
                </a:solidFill>
                <a:effectLst/>
                <a:latin typeface="Verdana" panose="020B0604030504040204" pitchFamily="34" charset="0"/>
                <a:ea typeface="SimSun" panose="02010600030101010101" pitchFamily="2" charset="-122"/>
              </a:endParaRPr>
            </a:p>
            <a:p>
              <a:pPr marL="1443990">
                <a:lnSpc>
                  <a:spcPct val="99000"/>
                </a:lnSpc>
                <a:spcAft>
                  <a:spcPts val="600"/>
                </a:spcAft>
              </a:pPr>
              <a:r>
                <a:rPr lang="en-GB" dirty="0">
                  <a:solidFill>
                    <a:srgbClr val="FFFFFF"/>
                  </a:solidFill>
                  <a:latin typeface="Verdana" panose="020B0604030504040204" pitchFamily="34" charset="0"/>
                  <a:ea typeface="SimSun" panose="02010600030101010101" pitchFamily="2" charset="-122"/>
                </a:rPr>
                <a:t>How to submit an annual safety report and respond to related RFIs</a:t>
              </a:r>
            </a:p>
            <a:p>
              <a:pPr marL="1443990">
                <a:lnSpc>
                  <a:spcPct val="99000"/>
                </a:lnSpc>
                <a:spcAft>
                  <a:spcPts val="600"/>
                </a:spcAft>
              </a:pPr>
              <a:r>
                <a:rPr lang="en-GB" sz="1800" dirty="0">
                  <a:solidFill>
                    <a:srgbClr val="FFFFFF"/>
                  </a:solidFill>
                  <a:effectLst/>
                  <a:latin typeface="Verdana" panose="020B0604030504040204" pitchFamily="34" charset="0"/>
                  <a:ea typeface="SimSun" panose="02010600030101010101" pitchFamily="2" charset="-122"/>
                </a:rPr>
                <a:t>CTIS Training Programme – Module </a:t>
              </a:r>
              <a:r>
                <a:rPr lang="en-GB" dirty="0">
                  <a:solidFill>
                    <a:srgbClr val="FFFFFF"/>
                  </a:solidFill>
                  <a:latin typeface="Verdana" panose="020B0604030504040204" pitchFamily="34" charset="0"/>
                  <a:ea typeface="SimSun" panose="02010600030101010101" pitchFamily="2" charset="-122"/>
                </a:rPr>
                <a:t>18</a:t>
              </a:r>
              <a:endParaRPr lang="en-US" sz="1200" dirty="0">
                <a:effectLst/>
                <a:latin typeface="Times New Roman" panose="02020603050405020304" pitchFamily="18" charset="0"/>
                <a:ea typeface="SimSun" panose="02010600030101010101" pitchFamily="2" charset="-122"/>
              </a:endParaRPr>
            </a:p>
            <a:p>
              <a:pPr marL="1443990" marR="777875">
                <a:spcAft>
                  <a:spcPts val="0"/>
                </a:spcAft>
              </a:pPr>
              <a:r>
                <a:rPr lang="en-GB" sz="1400" baseline="30000" dirty="0">
                  <a:solidFill>
                    <a:srgbClr val="FFFFFF"/>
                  </a:solidFill>
                  <a:effectLst/>
                  <a:latin typeface="Verdana" panose="020B0604030504040204" pitchFamily="34" charset="0"/>
                  <a:ea typeface="SimSun" panose="02010600030101010101" pitchFamily="2" charset="-122"/>
                </a:rPr>
                <a:t>Version 1.1 – July 2021</a:t>
              </a:r>
              <a:endParaRPr lang="en-US" sz="1200" dirty="0">
                <a:effectLst/>
                <a:latin typeface="Times New Roman" panose="02020603050405020304" pitchFamily="18" charset="0"/>
                <a:ea typeface="SimSun" panose="02010600030101010101" pitchFamily="2" charset="-122"/>
              </a:endParaRPr>
            </a:p>
            <a:p>
              <a:pPr marL="1442720" marR="776605">
                <a:lnSpc>
                  <a:spcPct val="98000"/>
                </a:lnSpc>
                <a:spcAft>
                  <a:spcPts val="800"/>
                </a:spcAft>
              </a:pPr>
              <a:r>
                <a:rPr lang="en-GB" sz="1800" b="1" spc="-30" dirty="0">
                  <a:solidFill>
                    <a:srgbClr val="FFFFFF"/>
                  </a:solidFill>
                  <a:effectLst/>
                  <a:latin typeface="Verdana" panose="020B0604030504040204" pitchFamily="34" charset="0"/>
                  <a:ea typeface="Calibri" panose="020F0502020204030204" pitchFamily="34" charset="0"/>
                  <a:cs typeface="Times New Roman" panose="02020603050405020304" pitchFamily="18" charset="0"/>
                </a:rPr>
                <a:t> </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p>
              <a:pPr marR="776605">
                <a:lnSpc>
                  <a:spcPct val="98000"/>
                </a:lnSpc>
                <a:spcAft>
                  <a:spcPts val="800"/>
                </a:spcAft>
              </a:pPr>
              <a:r>
                <a:rPr lang="en-GB" sz="1800" dirty="0">
                  <a:effectLst/>
                  <a:latin typeface="Calibri" panose="020F0502020204030204" pitchFamily="34" charset="0"/>
                  <a:ea typeface="Calibri" panose="020F0502020204030204" pitchFamily="34" charset="0"/>
                  <a:cs typeface="Times New Roman" panose="02020603050405020304" pitchFamily="18" charset="0"/>
                </a:rPr>
                <a:t> </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p>
              <a:pPr marL="1442720" marR="776605">
                <a:lnSpc>
                  <a:spcPct val="98000"/>
                </a:lnSpc>
                <a:spcAft>
                  <a:spcPts val="800"/>
                </a:spcAft>
              </a:pPr>
              <a:r>
                <a:rPr lang="en-GB" sz="1800" dirty="0">
                  <a:effectLst/>
                  <a:latin typeface="Calibri" panose="020F0502020204030204" pitchFamily="34" charset="0"/>
                  <a:ea typeface="Calibri" panose="020F0502020204030204" pitchFamily="34" charset="0"/>
                  <a:cs typeface="Times New Roman" panose="02020603050405020304" pitchFamily="18" charset="0"/>
                </a:rPr>
                <a:t> </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p:txBody>
        </p:sp>
      </p:grpSp>
      <p:sp>
        <p:nvSpPr>
          <p:cNvPr id="10" name="Text Box 2"/>
          <p:cNvSpPr txBox="1">
            <a:spLocks noChangeArrowheads="1"/>
          </p:cNvSpPr>
          <p:nvPr/>
        </p:nvSpPr>
        <p:spPr bwMode="auto">
          <a:xfrm>
            <a:off x="7925562" y="2560954"/>
            <a:ext cx="3893820" cy="2183765"/>
          </a:xfrm>
          <a:prstGeom prst="rect">
            <a:avLst/>
          </a:prstGeom>
          <a:noFill/>
          <a:ln w="9525">
            <a:noFill/>
            <a:miter lim="800000"/>
            <a:headEnd/>
            <a:tailEnd/>
          </a:ln>
        </p:spPr>
        <p:txBody>
          <a:bodyPr rot="0" vert="horz" wrap="square" lIns="91440" tIns="45720" rIns="91440" bIns="45720" anchor="t" anchorCtr="0">
            <a:spAutoFit/>
          </a:bodyPr>
          <a:lstStyle/>
          <a:p>
            <a:pPr>
              <a:spcAft>
                <a:spcPts val="0"/>
              </a:spcAft>
            </a:pPr>
            <a:r>
              <a:rPr lang="it-IT" sz="900">
                <a:effectLst/>
                <a:latin typeface="Verdana" panose="020B0604030504040204" pitchFamily="34" charset="0"/>
                <a:ea typeface="Verdana" panose="020B0604030504040204" pitchFamily="34" charset="0"/>
                <a:cs typeface="Verdana" panose="020B0604030504040204" pitchFamily="34" charset="0"/>
              </a:rPr>
              <a:t>© European Medicines Agency, 2021</a:t>
            </a:r>
            <a:endParaRPr lang="nl-BE" sz="1100">
              <a:effectLst/>
              <a:latin typeface="Verdana" panose="020B0604030504040204" pitchFamily="34" charset="0"/>
              <a:ea typeface="Verdana" panose="020B0604030504040204" pitchFamily="34" charset="0"/>
              <a:cs typeface="Verdana" panose="020B0604030504040204" pitchFamily="34" charset="0"/>
            </a:endParaRPr>
          </a:p>
          <a:p>
            <a:pPr>
              <a:spcAft>
                <a:spcPts val="0"/>
              </a:spcAft>
            </a:pPr>
            <a:r>
              <a:rPr lang="it-IT" sz="900">
                <a:effectLst/>
                <a:latin typeface="Verdana" panose="020B0604030504040204" pitchFamily="34" charset="0"/>
                <a:ea typeface="Verdana" panose="020B0604030504040204" pitchFamily="34" charset="0"/>
                <a:cs typeface="Verdana" panose="020B0604030504040204" pitchFamily="34" charset="0"/>
              </a:rPr>
              <a:t> </a:t>
            </a:r>
            <a:endParaRPr lang="nl-BE" sz="1100">
              <a:effectLst/>
              <a:latin typeface="Verdana" panose="020B0604030504040204" pitchFamily="34" charset="0"/>
              <a:ea typeface="Verdana" panose="020B0604030504040204" pitchFamily="34" charset="0"/>
              <a:cs typeface="Verdana" panose="020B0604030504040204" pitchFamily="34" charset="0"/>
            </a:endParaRPr>
          </a:p>
          <a:p>
            <a:pPr>
              <a:spcAft>
                <a:spcPts val="0"/>
              </a:spcAft>
            </a:pPr>
            <a:r>
              <a:rPr lang="it-IT" sz="900">
                <a:effectLst/>
                <a:latin typeface="Verdana" panose="020B0604030504040204" pitchFamily="34" charset="0"/>
                <a:ea typeface="Verdana" panose="020B0604030504040204" pitchFamily="34" charset="0"/>
                <a:cs typeface="Verdana" panose="020B0604030504040204" pitchFamily="34" charset="0"/>
              </a:rPr>
              <a:t>Reproduction and/or distribution of the content of these training materials for non-commercial or commercial purposes is authorised, provided the European Medicines Agency is acknowledged as the source of the materials.</a:t>
            </a:r>
            <a:endParaRPr lang="nl-BE" sz="1100">
              <a:effectLst/>
              <a:latin typeface="Verdana" panose="020B0604030504040204" pitchFamily="34" charset="0"/>
              <a:ea typeface="Verdana" panose="020B0604030504040204" pitchFamily="34" charset="0"/>
              <a:cs typeface="Verdana" panose="020B0604030504040204" pitchFamily="34" charset="0"/>
            </a:endParaRPr>
          </a:p>
          <a:p>
            <a:pPr>
              <a:spcAft>
                <a:spcPts val="0"/>
              </a:spcAft>
            </a:pPr>
            <a:r>
              <a:rPr lang="it-IT" sz="900">
                <a:effectLst/>
                <a:latin typeface="Verdana" panose="020B0604030504040204" pitchFamily="34" charset="0"/>
                <a:ea typeface="Verdana" panose="020B0604030504040204" pitchFamily="34" charset="0"/>
                <a:cs typeface="Verdana" panose="020B0604030504040204" pitchFamily="34" charset="0"/>
              </a:rPr>
              <a:t> </a:t>
            </a:r>
            <a:endParaRPr lang="nl-BE" sz="1100">
              <a:effectLst/>
              <a:latin typeface="Verdana" panose="020B0604030504040204" pitchFamily="34" charset="0"/>
              <a:ea typeface="Verdana" panose="020B0604030504040204" pitchFamily="34" charset="0"/>
              <a:cs typeface="Verdana" panose="020B0604030504040204" pitchFamily="34" charset="0"/>
            </a:endParaRPr>
          </a:p>
          <a:p>
            <a:pPr>
              <a:spcAft>
                <a:spcPts val="0"/>
              </a:spcAft>
            </a:pPr>
            <a:r>
              <a:rPr lang="it-IT" sz="900">
                <a:effectLst/>
                <a:latin typeface="Verdana" panose="020B0604030504040204" pitchFamily="34" charset="0"/>
                <a:ea typeface="Verdana" panose="020B0604030504040204" pitchFamily="34" charset="0"/>
                <a:cs typeface="Verdana" panose="020B0604030504040204" pitchFamily="34" charset="0"/>
              </a:rPr>
              <a:t>The European Medicines Agency developed this training material to enhance public access to information on the Clinical Trial Information System (CTIS). This material describes a preliminary version of CTIS and may therefore not entirely describe the system as it is at the time of use of this material. The Agency does not warrant or accept any liability in relation to the use (in part or in whole) or the interpretation of the information contained in this training material by third parties</a:t>
            </a:r>
            <a:r>
              <a:rPr lang="it-IT" sz="700">
                <a:effectLst/>
                <a:latin typeface="Verdana" panose="020B0604030504040204" pitchFamily="34" charset="0"/>
                <a:ea typeface="Verdana" panose="020B0604030504040204" pitchFamily="34" charset="0"/>
                <a:cs typeface="Verdana" panose="020B0604030504040204" pitchFamily="34" charset="0"/>
              </a:rPr>
              <a:t>.</a:t>
            </a:r>
            <a:endParaRPr lang="nl-BE" sz="1100">
              <a:effectLst/>
              <a:latin typeface="Verdana" panose="020B0604030504040204" pitchFamily="34" charset="0"/>
              <a:ea typeface="Verdana" panose="020B0604030504040204" pitchFamily="34" charset="0"/>
              <a:cs typeface="Verdana" panose="020B0604030504040204" pitchFamily="34" charset="0"/>
            </a:endParaRPr>
          </a:p>
        </p:txBody>
      </p:sp>
      <p:sp>
        <p:nvSpPr>
          <p:cNvPr id="22" name="Rectangle 15"/>
          <p:cNvSpPr>
            <a:spLocks noChangeArrowheads="1"/>
          </p:cNvSpPr>
          <p:nvPr/>
        </p:nvSpPr>
        <p:spPr bwMode="auto">
          <a:xfrm>
            <a:off x="0" y="1"/>
            <a:ext cx="12192000" cy="673100"/>
          </a:xfrm>
          <a:prstGeom prst="rect">
            <a:avLst/>
          </a:prstGeom>
          <a:solidFill>
            <a:srgbClr val="003399"/>
          </a:solidFill>
          <a:ln>
            <a:noFill/>
          </a:ln>
          <a:effectLst/>
          <a:extLst>
            <a:ext uri="{91240B29-F687-4F45-9708-019B960494DF}">
              <a14:hiddenLine xmlns:a14="http://schemas.microsoft.com/office/drawing/2010/main" w="19050"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pPr algn="ctr" fontAlgn="base">
              <a:lnSpc>
                <a:spcPct val="120000"/>
              </a:lnSpc>
              <a:spcBef>
                <a:spcPct val="0"/>
              </a:spcBef>
              <a:spcAft>
                <a:spcPct val="0"/>
              </a:spcAft>
            </a:pPr>
            <a:endParaRPr lang="en-GB" sz="2133">
              <a:solidFill>
                <a:srgbClr val="000000"/>
              </a:solidFill>
            </a:endParaRPr>
          </a:p>
        </p:txBody>
      </p:sp>
      <p:sp>
        <p:nvSpPr>
          <p:cNvPr id="23" name="Line 17"/>
          <p:cNvSpPr>
            <a:spLocks noChangeShapeType="1"/>
          </p:cNvSpPr>
          <p:nvPr/>
        </p:nvSpPr>
        <p:spPr bwMode="auto">
          <a:xfrm>
            <a:off x="0" y="676275"/>
            <a:ext cx="12192000" cy="1588"/>
          </a:xfrm>
          <a:prstGeom prst="line">
            <a:avLst/>
          </a:prstGeom>
          <a:noFill/>
          <a:ln w="3175">
            <a:solidFill>
              <a:srgbClr val="FFFFFF"/>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lgn="ctr" fontAlgn="base">
              <a:lnSpc>
                <a:spcPct val="120000"/>
              </a:lnSpc>
              <a:spcBef>
                <a:spcPct val="0"/>
              </a:spcBef>
              <a:spcAft>
                <a:spcPct val="0"/>
              </a:spcAft>
            </a:pPr>
            <a:endParaRPr lang="en-GB" sz="2133">
              <a:solidFill>
                <a:srgbClr val="000000"/>
              </a:solidFill>
            </a:endParaRPr>
          </a:p>
        </p:txBody>
      </p:sp>
      <p:pic>
        <p:nvPicPr>
          <p:cNvPr id="24" name="Picture 2"/>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0462229" y="112952"/>
            <a:ext cx="1248139" cy="44719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custDataLst>
      <p:tags r:id="rId1"/>
    </p:custDataLst>
    <p:extLst>
      <p:ext uri="{BB962C8B-B14F-4D97-AF65-F5344CB8AC3E}">
        <p14:creationId xmlns:p14="http://schemas.microsoft.com/office/powerpoint/2010/main" val="141160485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upo 2">
            <a:extLst>
              <a:ext uri="{FF2B5EF4-FFF2-40B4-BE49-F238E27FC236}">
                <a16:creationId xmlns:a16="http://schemas.microsoft.com/office/drawing/2014/main" id="{557573FB-325C-45AC-9118-D599E6E4D105}"/>
              </a:ext>
            </a:extLst>
          </p:cNvPr>
          <p:cNvGrpSpPr/>
          <p:nvPr/>
        </p:nvGrpSpPr>
        <p:grpSpPr>
          <a:xfrm rot="7080000">
            <a:off x="9444141" y="599069"/>
            <a:ext cx="2716937" cy="2360170"/>
            <a:chOff x="8047141" y="3157212"/>
            <a:chExt cx="3397294" cy="3140312"/>
          </a:xfrm>
        </p:grpSpPr>
        <p:sp>
          <p:nvSpPr>
            <p:cNvPr id="4" name="Freeform 3"/>
            <p:cNvSpPr>
              <a:spLocks noChangeAspect="1"/>
            </p:cNvSpPr>
            <p:nvPr/>
          </p:nvSpPr>
          <p:spPr>
            <a:xfrm>
              <a:off x="10192108" y="4020293"/>
              <a:ext cx="1252327" cy="1088246"/>
            </a:xfrm>
            <a:custGeom>
              <a:avLst/>
              <a:gdLst>
                <a:gd name="connsiteX0" fmla="*/ 1552073 w 6244389"/>
                <a:gd name="connsiteY0" fmla="*/ 0 h 5426243"/>
                <a:gd name="connsiteX1" fmla="*/ 4704347 w 6244389"/>
                <a:gd name="connsiteY1" fmla="*/ 12032 h 5426243"/>
                <a:gd name="connsiteX2" fmla="*/ 6244389 w 6244389"/>
                <a:gd name="connsiteY2" fmla="*/ 2755232 h 5426243"/>
                <a:gd name="connsiteX3" fmla="*/ 4704347 w 6244389"/>
                <a:gd name="connsiteY3" fmla="*/ 5414211 h 5426243"/>
                <a:gd name="connsiteX4" fmla="*/ 1564105 w 6244389"/>
                <a:gd name="connsiteY4" fmla="*/ 5426243 h 5426243"/>
                <a:gd name="connsiteX5" fmla="*/ 0 w 6244389"/>
                <a:gd name="connsiteY5" fmla="*/ 2731169 h 5426243"/>
                <a:gd name="connsiteX6" fmla="*/ 1552073 w 6244389"/>
                <a:gd name="connsiteY6" fmla="*/ 0 h 54262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4389" h="5426243">
                  <a:moveTo>
                    <a:pt x="1552073" y="0"/>
                  </a:moveTo>
                  <a:lnTo>
                    <a:pt x="4704347" y="12032"/>
                  </a:lnTo>
                  <a:lnTo>
                    <a:pt x="6244389" y="2755232"/>
                  </a:lnTo>
                  <a:lnTo>
                    <a:pt x="4704347" y="5414211"/>
                  </a:lnTo>
                  <a:lnTo>
                    <a:pt x="1564105" y="5426243"/>
                  </a:lnTo>
                  <a:lnTo>
                    <a:pt x="0" y="2731169"/>
                  </a:lnTo>
                  <a:lnTo>
                    <a:pt x="1552073" y="0"/>
                  </a:lnTo>
                  <a:close/>
                </a:path>
              </a:pathLst>
            </a:cu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prstClr val="white"/>
                </a:solidFill>
                <a:effectLst/>
                <a:uLnTx/>
                <a:uFillTx/>
                <a:latin typeface="Calibri"/>
                <a:ea typeface="+mn-ea"/>
                <a:cs typeface="+mn-cs"/>
              </a:endParaRPr>
            </a:p>
          </p:txBody>
        </p:sp>
        <p:sp>
          <p:nvSpPr>
            <p:cNvPr id="5" name="Freeform 4"/>
            <p:cNvSpPr>
              <a:spLocks noChangeAspect="1"/>
            </p:cNvSpPr>
            <p:nvPr/>
          </p:nvSpPr>
          <p:spPr>
            <a:xfrm>
              <a:off x="9122606" y="3446709"/>
              <a:ext cx="1252327" cy="1088246"/>
            </a:xfrm>
            <a:custGeom>
              <a:avLst/>
              <a:gdLst>
                <a:gd name="connsiteX0" fmla="*/ 1552073 w 6244389"/>
                <a:gd name="connsiteY0" fmla="*/ 0 h 5426243"/>
                <a:gd name="connsiteX1" fmla="*/ 4704347 w 6244389"/>
                <a:gd name="connsiteY1" fmla="*/ 12032 h 5426243"/>
                <a:gd name="connsiteX2" fmla="*/ 6244389 w 6244389"/>
                <a:gd name="connsiteY2" fmla="*/ 2755232 h 5426243"/>
                <a:gd name="connsiteX3" fmla="*/ 4704347 w 6244389"/>
                <a:gd name="connsiteY3" fmla="*/ 5414211 h 5426243"/>
                <a:gd name="connsiteX4" fmla="*/ 1564105 w 6244389"/>
                <a:gd name="connsiteY4" fmla="*/ 5426243 h 5426243"/>
                <a:gd name="connsiteX5" fmla="*/ 0 w 6244389"/>
                <a:gd name="connsiteY5" fmla="*/ 2731169 h 5426243"/>
                <a:gd name="connsiteX6" fmla="*/ 1552073 w 6244389"/>
                <a:gd name="connsiteY6" fmla="*/ 0 h 54262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4389" h="5426243">
                  <a:moveTo>
                    <a:pt x="1552073" y="0"/>
                  </a:moveTo>
                  <a:lnTo>
                    <a:pt x="4704347" y="12032"/>
                  </a:lnTo>
                  <a:lnTo>
                    <a:pt x="6244389" y="2755232"/>
                  </a:lnTo>
                  <a:lnTo>
                    <a:pt x="4704347" y="5414211"/>
                  </a:lnTo>
                  <a:lnTo>
                    <a:pt x="1564105" y="5426243"/>
                  </a:lnTo>
                  <a:lnTo>
                    <a:pt x="0" y="2731169"/>
                  </a:lnTo>
                  <a:lnTo>
                    <a:pt x="1552073" y="0"/>
                  </a:lnTo>
                  <a:close/>
                </a:path>
              </a:pathLst>
            </a:cu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prstClr val="white"/>
                </a:solidFill>
                <a:effectLst/>
                <a:uLnTx/>
                <a:uFillTx/>
                <a:latin typeface="Calibri"/>
                <a:ea typeface="+mn-ea"/>
                <a:cs typeface="+mn-cs"/>
              </a:endParaRPr>
            </a:p>
          </p:txBody>
        </p:sp>
        <p:sp>
          <p:nvSpPr>
            <p:cNvPr id="6" name="Freeform 5"/>
            <p:cNvSpPr>
              <a:spLocks noChangeAspect="1"/>
            </p:cNvSpPr>
            <p:nvPr/>
          </p:nvSpPr>
          <p:spPr>
            <a:xfrm>
              <a:off x="8048894" y="5209278"/>
              <a:ext cx="1252327" cy="1088246"/>
            </a:xfrm>
            <a:custGeom>
              <a:avLst/>
              <a:gdLst>
                <a:gd name="connsiteX0" fmla="*/ 1552073 w 6244389"/>
                <a:gd name="connsiteY0" fmla="*/ 0 h 5426243"/>
                <a:gd name="connsiteX1" fmla="*/ 4704347 w 6244389"/>
                <a:gd name="connsiteY1" fmla="*/ 12032 h 5426243"/>
                <a:gd name="connsiteX2" fmla="*/ 6244389 w 6244389"/>
                <a:gd name="connsiteY2" fmla="*/ 2755232 h 5426243"/>
                <a:gd name="connsiteX3" fmla="*/ 4704347 w 6244389"/>
                <a:gd name="connsiteY3" fmla="*/ 5414211 h 5426243"/>
                <a:gd name="connsiteX4" fmla="*/ 1564105 w 6244389"/>
                <a:gd name="connsiteY4" fmla="*/ 5426243 h 5426243"/>
                <a:gd name="connsiteX5" fmla="*/ 0 w 6244389"/>
                <a:gd name="connsiteY5" fmla="*/ 2731169 h 5426243"/>
                <a:gd name="connsiteX6" fmla="*/ 1552073 w 6244389"/>
                <a:gd name="connsiteY6" fmla="*/ 0 h 54262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4389" h="5426243">
                  <a:moveTo>
                    <a:pt x="1552073" y="0"/>
                  </a:moveTo>
                  <a:lnTo>
                    <a:pt x="4704347" y="12032"/>
                  </a:lnTo>
                  <a:lnTo>
                    <a:pt x="6244389" y="2755232"/>
                  </a:lnTo>
                  <a:lnTo>
                    <a:pt x="4704347" y="5414211"/>
                  </a:lnTo>
                  <a:lnTo>
                    <a:pt x="1564105" y="5426243"/>
                  </a:lnTo>
                  <a:lnTo>
                    <a:pt x="0" y="2731169"/>
                  </a:lnTo>
                  <a:lnTo>
                    <a:pt x="1552073" y="0"/>
                  </a:lnTo>
                  <a:close/>
                </a:path>
              </a:pathLst>
            </a:cu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prstClr val="white"/>
                </a:solidFill>
                <a:effectLst/>
                <a:uLnTx/>
                <a:uFillTx/>
                <a:latin typeface="Calibri"/>
              </a:endParaRPr>
            </a:p>
          </p:txBody>
        </p:sp>
        <p:sp>
          <p:nvSpPr>
            <p:cNvPr id="7" name="Freeform 6"/>
            <p:cNvSpPr>
              <a:spLocks noChangeAspect="1"/>
            </p:cNvSpPr>
            <p:nvPr/>
          </p:nvSpPr>
          <p:spPr>
            <a:xfrm>
              <a:off x="10208997" y="3157212"/>
              <a:ext cx="583517" cy="507064"/>
            </a:xfrm>
            <a:custGeom>
              <a:avLst/>
              <a:gdLst>
                <a:gd name="connsiteX0" fmla="*/ 1552073 w 6244389"/>
                <a:gd name="connsiteY0" fmla="*/ 0 h 5426243"/>
                <a:gd name="connsiteX1" fmla="*/ 4704347 w 6244389"/>
                <a:gd name="connsiteY1" fmla="*/ 12032 h 5426243"/>
                <a:gd name="connsiteX2" fmla="*/ 6244389 w 6244389"/>
                <a:gd name="connsiteY2" fmla="*/ 2755232 h 5426243"/>
                <a:gd name="connsiteX3" fmla="*/ 4704347 w 6244389"/>
                <a:gd name="connsiteY3" fmla="*/ 5414211 h 5426243"/>
                <a:gd name="connsiteX4" fmla="*/ 1564105 w 6244389"/>
                <a:gd name="connsiteY4" fmla="*/ 5426243 h 5426243"/>
                <a:gd name="connsiteX5" fmla="*/ 0 w 6244389"/>
                <a:gd name="connsiteY5" fmla="*/ 2731169 h 5426243"/>
                <a:gd name="connsiteX6" fmla="*/ 1552073 w 6244389"/>
                <a:gd name="connsiteY6" fmla="*/ 0 h 54262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4389" h="5426243">
                  <a:moveTo>
                    <a:pt x="1552073" y="0"/>
                  </a:moveTo>
                  <a:lnTo>
                    <a:pt x="4704347" y="12032"/>
                  </a:lnTo>
                  <a:lnTo>
                    <a:pt x="6244389" y="2755232"/>
                  </a:lnTo>
                  <a:lnTo>
                    <a:pt x="4704347" y="5414211"/>
                  </a:lnTo>
                  <a:lnTo>
                    <a:pt x="1564105" y="5426243"/>
                  </a:lnTo>
                  <a:lnTo>
                    <a:pt x="0" y="2731169"/>
                  </a:lnTo>
                  <a:lnTo>
                    <a:pt x="1552073" y="0"/>
                  </a:lnTo>
                  <a:close/>
                </a:path>
              </a:pathLst>
            </a:cu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prstClr val="white"/>
                </a:solidFill>
                <a:effectLst/>
                <a:uLnTx/>
                <a:uFillTx/>
                <a:latin typeface="Calibri"/>
                <a:ea typeface="+mn-ea"/>
                <a:cs typeface="+mn-cs"/>
              </a:endParaRPr>
            </a:p>
          </p:txBody>
        </p:sp>
        <p:sp>
          <p:nvSpPr>
            <p:cNvPr id="9" name="Freeform 8"/>
            <p:cNvSpPr>
              <a:spLocks noChangeAspect="1"/>
            </p:cNvSpPr>
            <p:nvPr/>
          </p:nvSpPr>
          <p:spPr>
            <a:xfrm>
              <a:off x="8047141" y="4020293"/>
              <a:ext cx="1252327" cy="1088246"/>
            </a:xfrm>
            <a:custGeom>
              <a:avLst/>
              <a:gdLst>
                <a:gd name="connsiteX0" fmla="*/ 1552073 w 6244389"/>
                <a:gd name="connsiteY0" fmla="*/ 0 h 5426243"/>
                <a:gd name="connsiteX1" fmla="*/ 4704347 w 6244389"/>
                <a:gd name="connsiteY1" fmla="*/ 12032 h 5426243"/>
                <a:gd name="connsiteX2" fmla="*/ 6244389 w 6244389"/>
                <a:gd name="connsiteY2" fmla="*/ 2755232 h 5426243"/>
                <a:gd name="connsiteX3" fmla="*/ 4704347 w 6244389"/>
                <a:gd name="connsiteY3" fmla="*/ 5414211 h 5426243"/>
                <a:gd name="connsiteX4" fmla="*/ 1564105 w 6244389"/>
                <a:gd name="connsiteY4" fmla="*/ 5426243 h 5426243"/>
                <a:gd name="connsiteX5" fmla="*/ 0 w 6244389"/>
                <a:gd name="connsiteY5" fmla="*/ 2731169 h 5426243"/>
                <a:gd name="connsiteX6" fmla="*/ 1552073 w 6244389"/>
                <a:gd name="connsiteY6" fmla="*/ 0 h 54262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4389" h="5426243">
                  <a:moveTo>
                    <a:pt x="1552073" y="0"/>
                  </a:moveTo>
                  <a:lnTo>
                    <a:pt x="4704347" y="12032"/>
                  </a:lnTo>
                  <a:lnTo>
                    <a:pt x="6244389" y="2755232"/>
                  </a:lnTo>
                  <a:lnTo>
                    <a:pt x="4704347" y="5414211"/>
                  </a:lnTo>
                  <a:lnTo>
                    <a:pt x="1564105" y="5426243"/>
                  </a:lnTo>
                  <a:lnTo>
                    <a:pt x="0" y="2731169"/>
                  </a:lnTo>
                  <a:lnTo>
                    <a:pt x="1552073" y="0"/>
                  </a:lnTo>
                  <a:close/>
                </a:path>
              </a:pathLst>
            </a:cu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prstClr val="white"/>
                </a:solidFill>
                <a:effectLst/>
                <a:uLnTx/>
                <a:uFillTx/>
                <a:latin typeface="Calibri"/>
                <a:ea typeface="+mn-ea"/>
                <a:cs typeface="+mn-cs"/>
              </a:endParaRPr>
            </a:p>
          </p:txBody>
        </p:sp>
      </p:grpSp>
      <p:sp>
        <p:nvSpPr>
          <p:cNvPr id="25" name="TextBox 17"/>
          <p:cNvSpPr txBox="1"/>
          <p:nvPr/>
        </p:nvSpPr>
        <p:spPr>
          <a:xfrm>
            <a:off x="887505" y="783162"/>
            <a:ext cx="9015088" cy="553998"/>
          </a:xfrm>
          <a:prstGeom prst="rect">
            <a:avLst/>
          </a:prstGeom>
          <a:noFill/>
        </p:spPr>
        <p:txBody>
          <a:bodyPr wrap="square" rtlCol="0">
            <a:spAutoFit/>
          </a:bodyPr>
          <a:lstStyle/>
          <a:p>
            <a:pPr lvl="0">
              <a:defRPr/>
            </a:pPr>
            <a:r>
              <a:rPr lang="en-US" sz="3000" b="1" kern="0" dirty="0">
                <a:solidFill>
                  <a:srgbClr val="2DA2BF"/>
                </a:solidFill>
                <a:latin typeface="Verdana" panose="020B0604030504040204" pitchFamily="34" charset="0"/>
                <a:ea typeface="Verdana" panose="020B0604030504040204" pitchFamily="34" charset="0"/>
              </a:rPr>
              <a:t>Case scenarios process puzzle </a:t>
            </a:r>
            <a:r>
              <a:rPr kumimoji="0" lang="en-US" sz="3000" b="1" i="0" u="none" strike="noStrike" kern="0" cap="none" spc="0" normalizeH="0" baseline="0" noProof="0" dirty="0">
                <a:ln>
                  <a:noFill/>
                </a:ln>
                <a:solidFill>
                  <a:srgbClr val="2DA2BF"/>
                </a:solidFill>
                <a:effectLst/>
                <a:uLnTx/>
                <a:uFillTx/>
                <a:latin typeface="Verdana" panose="020B0604030504040204" pitchFamily="34" charset="0"/>
                <a:ea typeface="Verdana" panose="020B0604030504040204" pitchFamily="34" charset="0"/>
              </a:rPr>
              <a:t>exercises</a:t>
            </a:r>
          </a:p>
        </p:txBody>
      </p:sp>
      <p:sp>
        <p:nvSpPr>
          <p:cNvPr id="26" name="TextBox 4"/>
          <p:cNvSpPr txBox="1"/>
          <p:nvPr/>
        </p:nvSpPr>
        <p:spPr>
          <a:xfrm>
            <a:off x="705688" y="1681020"/>
            <a:ext cx="8801773" cy="1391269"/>
          </a:xfrm>
          <a:prstGeom prst="rect">
            <a:avLst/>
          </a:prstGeom>
          <a:noFill/>
        </p:spPr>
        <p:txBody>
          <a:bodyPr wrap="square" lIns="91440" tIns="45720" rIns="91440" bIns="45720" rtlCol="0" anchor="t">
            <a:noAutofit/>
          </a:bodyPr>
          <a:lstStyle/>
          <a:p>
            <a:pPr algn="just">
              <a:lnSpc>
                <a:spcPct val="150000"/>
              </a:lnSpc>
              <a:defRPr/>
            </a:pPr>
            <a:r>
              <a:rPr kumimoji="0" lang="en-US" b="0" i="0" u="none" strike="noStrike" kern="0" cap="none" spc="0" normalizeH="0" baseline="0" noProof="0" dirty="0">
                <a:ln>
                  <a:noFill/>
                </a:ln>
                <a:effectLst/>
                <a:uLnTx/>
                <a:uFillTx/>
                <a:latin typeface="Verdana"/>
                <a:ea typeface="Verdana"/>
              </a:rPr>
              <a:t>In this exercise</a:t>
            </a:r>
            <a:r>
              <a:rPr kumimoji="0" lang="en-US" b="0" i="0" u="none" strike="noStrike" kern="0" cap="none" spc="0" normalizeH="0" noProof="0" dirty="0">
                <a:ln>
                  <a:noFill/>
                </a:ln>
                <a:effectLst/>
                <a:uLnTx/>
                <a:uFillTx/>
                <a:latin typeface="Verdana"/>
                <a:ea typeface="Verdana"/>
              </a:rPr>
              <a:t> we </a:t>
            </a:r>
            <a:r>
              <a:rPr lang="en-US" kern="0" dirty="0">
                <a:latin typeface="Verdana"/>
                <a:ea typeface="Verdana"/>
              </a:rPr>
              <a:t>invite</a:t>
            </a:r>
            <a:r>
              <a:rPr kumimoji="0" lang="en-US" b="0" i="0" u="none" strike="noStrike" kern="0" cap="none" spc="0" normalizeH="0" noProof="0" dirty="0">
                <a:ln>
                  <a:noFill/>
                </a:ln>
                <a:effectLst/>
                <a:uLnTx/>
                <a:uFillTx/>
                <a:latin typeface="Verdana"/>
                <a:ea typeface="Verdana"/>
              </a:rPr>
              <a:t> you to </a:t>
            </a:r>
            <a:r>
              <a:rPr lang="en-US" kern="0" dirty="0">
                <a:latin typeface="Verdana"/>
                <a:ea typeface="Verdana"/>
              </a:rPr>
              <a:t>reflect on </a:t>
            </a:r>
            <a:r>
              <a:rPr lang="en-GB" kern="0" dirty="0">
                <a:latin typeface="Verdana"/>
                <a:ea typeface="Verdana"/>
              </a:rPr>
              <a:t>the steps you need to follow to create and submit an ASR submission form</a:t>
            </a:r>
            <a:r>
              <a:rPr lang="en-US" kern="0" dirty="0">
                <a:latin typeface="Verdana"/>
                <a:ea typeface="Verdana"/>
              </a:rPr>
              <a:t>.</a:t>
            </a:r>
            <a:endParaRPr lang="en-US" b="0" i="0" u="none" strike="noStrike" kern="0" cap="none" spc="0" normalizeH="0" noProof="0" dirty="0">
              <a:ln>
                <a:noFill/>
              </a:ln>
              <a:effectLst/>
              <a:uLnTx/>
              <a:uFillTx/>
              <a:latin typeface="Verdana"/>
              <a:ea typeface="Verdana"/>
            </a:endParaRPr>
          </a:p>
        </p:txBody>
      </p:sp>
      <p:cxnSp>
        <p:nvCxnSpPr>
          <p:cNvPr id="19" name="Straight Connector 19"/>
          <p:cNvCxnSpPr/>
          <p:nvPr/>
        </p:nvCxnSpPr>
        <p:spPr>
          <a:xfrm flipH="1">
            <a:off x="1539925" y="4482374"/>
            <a:ext cx="9396000" cy="0"/>
          </a:xfrm>
          <a:prstGeom prst="straightConnector1">
            <a:avLst/>
          </a:prstGeom>
          <a:noFill/>
          <a:ln w="38100" cap="rnd">
            <a:solidFill>
              <a:schemeClr val="accent1"/>
            </a:solidFill>
            <a:prstDash val="solid"/>
            <a:miter/>
          </a:ln>
        </p:spPr>
      </p:cxnSp>
      <p:sp>
        <p:nvSpPr>
          <p:cNvPr id="21" name="Oval 10"/>
          <p:cNvSpPr/>
          <p:nvPr/>
        </p:nvSpPr>
        <p:spPr>
          <a:xfrm>
            <a:off x="4788451" y="4243328"/>
            <a:ext cx="473861" cy="478093"/>
          </a:xfrm>
          <a:custGeom>
            <a:avLst/>
            <a:gdLst>
              <a:gd name="f0" fmla="val 21600000"/>
              <a:gd name="f1" fmla="val 10800000"/>
              <a:gd name="f2" fmla="val 5400000"/>
              <a:gd name="f3" fmla="val 180"/>
              <a:gd name="f4" fmla="val w"/>
              <a:gd name="f5" fmla="val h"/>
              <a:gd name="f6" fmla="val ss"/>
              <a:gd name="f7" fmla="val 0"/>
              <a:gd name="f8" fmla="*/ 5419351 1 1725033"/>
              <a:gd name="f9" fmla="+- 0 0 -360"/>
              <a:gd name="f10" fmla="+- 0 0 -180"/>
              <a:gd name="f11" fmla="abs f4"/>
              <a:gd name="f12" fmla="abs f5"/>
              <a:gd name="f13" fmla="abs f6"/>
              <a:gd name="f14" fmla="+- 2700000 f2 0"/>
              <a:gd name="f15" fmla="*/ f9 f1 1"/>
              <a:gd name="f16" fmla="*/ f10 f1 1"/>
              <a:gd name="f17" fmla="?: f11 f4 1"/>
              <a:gd name="f18" fmla="?: f12 f5 1"/>
              <a:gd name="f19" fmla="?: f13 f6 1"/>
              <a:gd name="f20" fmla="+- f14 0 f2"/>
              <a:gd name="f21" fmla="*/ f15 1 f3"/>
              <a:gd name="f22" fmla="*/ f16 1 f3"/>
              <a:gd name="f23" fmla="*/ f17 1 21600"/>
              <a:gd name="f24" fmla="*/ f18 1 21600"/>
              <a:gd name="f25" fmla="*/ 21600 f17 1"/>
              <a:gd name="f26" fmla="*/ 21600 f18 1"/>
              <a:gd name="f27" fmla="+- f20 f2 0"/>
              <a:gd name="f28" fmla="+- f21 0 f2"/>
              <a:gd name="f29" fmla="+- f22 0 f2"/>
              <a:gd name="f30" fmla="min f24 f23"/>
              <a:gd name="f31" fmla="*/ f25 1 f19"/>
              <a:gd name="f32" fmla="*/ f26 1 f19"/>
              <a:gd name="f33" fmla="*/ f27 f8 1"/>
              <a:gd name="f34" fmla="val f31"/>
              <a:gd name="f35" fmla="val f32"/>
              <a:gd name="f36" fmla="*/ f33 1 f1"/>
              <a:gd name="f37" fmla="*/ f7 f30 1"/>
              <a:gd name="f38" fmla="+- f35 0 f7"/>
              <a:gd name="f39" fmla="+- f34 0 f7"/>
              <a:gd name="f40" fmla="+- 0 0 f36"/>
              <a:gd name="f41" fmla="*/ f38 1 2"/>
              <a:gd name="f42" fmla="*/ f39 1 2"/>
              <a:gd name="f43" fmla="+- 0 0 f40"/>
              <a:gd name="f44" fmla="+- f7 f41 0"/>
              <a:gd name="f45" fmla="+- f7 f42 0"/>
              <a:gd name="f46" fmla="*/ f43 f1 1"/>
              <a:gd name="f47" fmla="*/ f42 f30 1"/>
              <a:gd name="f48" fmla="*/ f41 f30 1"/>
              <a:gd name="f49" fmla="*/ f46 1 f8"/>
              <a:gd name="f50" fmla="*/ f44 f30 1"/>
              <a:gd name="f51" fmla="+- f49 0 f2"/>
              <a:gd name="f52" fmla="cos 1 f51"/>
              <a:gd name="f53" fmla="sin 1 f51"/>
              <a:gd name="f54" fmla="+- 0 0 f52"/>
              <a:gd name="f55" fmla="+- 0 0 f53"/>
              <a:gd name="f56" fmla="+- 0 0 f54"/>
              <a:gd name="f57" fmla="+- 0 0 f55"/>
              <a:gd name="f58" fmla="val f56"/>
              <a:gd name="f59" fmla="val f57"/>
              <a:gd name="f60" fmla="*/ f58 f42 1"/>
              <a:gd name="f61" fmla="*/ f59 f41 1"/>
              <a:gd name="f62" fmla="+- f45 0 f60"/>
              <a:gd name="f63" fmla="+- f45 f60 0"/>
              <a:gd name="f64" fmla="+- f44 0 f61"/>
              <a:gd name="f65" fmla="+- f44 f61 0"/>
              <a:gd name="f66" fmla="*/ f62 f30 1"/>
              <a:gd name="f67" fmla="*/ f64 f30 1"/>
              <a:gd name="f68" fmla="*/ f63 f30 1"/>
              <a:gd name="f69" fmla="*/ f65 f30 1"/>
            </a:gdLst>
            <a:ahLst/>
            <a:cxnLst>
              <a:cxn ang="3cd4">
                <a:pos x="hc" y="t"/>
              </a:cxn>
              <a:cxn ang="0">
                <a:pos x="r" y="vc"/>
              </a:cxn>
              <a:cxn ang="cd4">
                <a:pos x="hc" y="b"/>
              </a:cxn>
              <a:cxn ang="cd2">
                <a:pos x="l" y="vc"/>
              </a:cxn>
              <a:cxn ang="f28">
                <a:pos x="f66" y="f67"/>
              </a:cxn>
              <a:cxn ang="f29">
                <a:pos x="f66" y="f69"/>
              </a:cxn>
              <a:cxn ang="f29">
                <a:pos x="f68" y="f69"/>
              </a:cxn>
              <a:cxn ang="f28">
                <a:pos x="f68" y="f67"/>
              </a:cxn>
            </a:cxnLst>
            <a:rect l="f66" t="f67" r="f68" b="f69"/>
            <a:pathLst>
              <a:path>
                <a:moveTo>
                  <a:pt x="f37" y="f50"/>
                </a:moveTo>
                <a:arcTo wR="f47" hR="f48" stAng="f1" swAng="f0"/>
                <a:close/>
              </a:path>
            </a:pathLst>
          </a:custGeom>
          <a:solidFill>
            <a:srgbClr val="2DA2BF"/>
          </a:solidFill>
          <a:ln w="57150" cap="rnd">
            <a:solidFill>
              <a:srgbClr val="FFFFFF"/>
            </a:solidFill>
            <a:prstDash val="solid"/>
            <a:miter/>
          </a:ln>
        </p:spPr>
        <p:txBody>
          <a:bodyPr vert="horz" wrap="square" lIns="91440" tIns="45720" rIns="91440" bIns="45720"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pt-PT" sz="1600" b="1" i="0" u="none" strike="noStrike" kern="1200" cap="none" spc="0" baseline="0">
                <a:solidFill>
                  <a:schemeClr val="bg1"/>
                </a:solidFill>
                <a:uFillTx/>
                <a:latin typeface="Verdana" panose="020B0604030504040204" pitchFamily="34" charset="0"/>
                <a:ea typeface="Verdana" panose="020B0604030504040204" pitchFamily="34" charset="0"/>
              </a:rPr>
              <a:t>2</a:t>
            </a:r>
          </a:p>
        </p:txBody>
      </p:sp>
      <p:sp>
        <p:nvSpPr>
          <p:cNvPr id="22" name="Oval 18"/>
          <p:cNvSpPr/>
          <p:nvPr/>
        </p:nvSpPr>
        <p:spPr>
          <a:xfrm>
            <a:off x="9202717" y="4243328"/>
            <a:ext cx="473861" cy="478093"/>
          </a:xfrm>
          <a:custGeom>
            <a:avLst/>
            <a:gdLst>
              <a:gd name="f0" fmla="val 21600000"/>
              <a:gd name="f1" fmla="val 10800000"/>
              <a:gd name="f2" fmla="val 5400000"/>
              <a:gd name="f3" fmla="val 180"/>
              <a:gd name="f4" fmla="val w"/>
              <a:gd name="f5" fmla="val h"/>
              <a:gd name="f6" fmla="val ss"/>
              <a:gd name="f7" fmla="val 0"/>
              <a:gd name="f8" fmla="*/ 5419351 1 1725033"/>
              <a:gd name="f9" fmla="+- 0 0 -360"/>
              <a:gd name="f10" fmla="+- 0 0 -180"/>
              <a:gd name="f11" fmla="abs f4"/>
              <a:gd name="f12" fmla="abs f5"/>
              <a:gd name="f13" fmla="abs f6"/>
              <a:gd name="f14" fmla="+- 2700000 f2 0"/>
              <a:gd name="f15" fmla="*/ f9 f1 1"/>
              <a:gd name="f16" fmla="*/ f10 f1 1"/>
              <a:gd name="f17" fmla="?: f11 f4 1"/>
              <a:gd name="f18" fmla="?: f12 f5 1"/>
              <a:gd name="f19" fmla="?: f13 f6 1"/>
              <a:gd name="f20" fmla="+- f14 0 f2"/>
              <a:gd name="f21" fmla="*/ f15 1 f3"/>
              <a:gd name="f22" fmla="*/ f16 1 f3"/>
              <a:gd name="f23" fmla="*/ f17 1 21600"/>
              <a:gd name="f24" fmla="*/ f18 1 21600"/>
              <a:gd name="f25" fmla="*/ 21600 f17 1"/>
              <a:gd name="f26" fmla="*/ 21600 f18 1"/>
              <a:gd name="f27" fmla="+- f20 f2 0"/>
              <a:gd name="f28" fmla="+- f21 0 f2"/>
              <a:gd name="f29" fmla="+- f22 0 f2"/>
              <a:gd name="f30" fmla="min f24 f23"/>
              <a:gd name="f31" fmla="*/ f25 1 f19"/>
              <a:gd name="f32" fmla="*/ f26 1 f19"/>
              <a:gd name="f33" fmla="*/ f27 f8 1"/>
              <a:gd name="f34" fmla="val f31"/>
              <a:gd name="f35" fmla="val f32"/>
              <a:gd name="f36" fmla="*/ f33 1 f1"/>
              <a:gd name="f37" fmla="*/ f7 f30 1"/>
              <a:gd name="f38" fmla="+- f35 0 f7"/>
              <a:gd name="f39" fmla="+- f34 0 f7"/>
              <a:gd name="f40" fmla="+- 0 0 f36"/>
              <a:gd name="f41" fmla="*/ f38 1 2"/>
              <a:gd name="f42" fmla="*/ f39 1 2"/>
              <a:gd name="f43" fmla="+- 0 0 f40"/>
              <a:gd name="f44" fmla="+- f7 f41 0"/>
              <a:gd name="f45" fmla="+- f7 f42 0"/>
              <a:gd name="f46" fmla="*/ f43 f1 1"/>
              <a:gd name="f47" fmla="*/ f42 f30 1"/>
              <a:gd name="f48" fmla="*/ f41 f30 1"/>
              <a:gd name="f49" fmla="*/ f46 1 f8"/>
              <a:gd name="f50" fmla="*/ f44 f30 1"/>
              <a:gd name="f51" fmla="+- f49 0 f2"/>
              <a:gd name="f52" fmla="cos 1 f51"/>
              <a:gd name="f53" fmla="sin 1 f51"/>
              <a:gd name="f54" fmla="+- 0 0 f52"/>
              <a:gd name="f55" fmla="+- 0 0 f53"/>
              <a:gd name="f56" fmla="+- 0 0 f54"/>
              <a:gd name="f57" fmla="+- 0 0 f55"/>
              <a:gd name="f58" fmla="val f56"/>
              <a:gd name="f59" fmla="val f57"/>
              <a:gd name="f60" fmla="*/ f58 f42 1"/>
              <a:gd name="f61" fmla="*/ f59 f41 1"/>
              <a:gd name="f62" fmla="+- f45 0 f60"/>
              <a:gd name="f63" fmla="+- f45 f60 0"/>
              <a:gd name="f64" fmla="+- f44 0 f61"/>
              <a:gd name="f65" fmla="+- f44 f61 0"/>
              <a:gd name="f66" fmla="*/ f62 f30 1"/>
              <a:gd name="f67" fmla="*/ f64 f30 1"/>
              <a:gd name="f68" fmla="*/ f63 f30 1"/>
              <a:gd name="f69" fmla="*/ f65 f30 1"/>
            </a:gdLst>
            <a:ahLst/>
            <a:cxnLst>
              <a:cxn ang="3cd4">
                <a:pos x="hc" y="t"/>
              </a:cxn>
              <a:cxn ang="0">
                <a:pos x="r" y="vc"/>
              </a:cxn>
              <a:cxn ang="cd4">
                <a:pos x="hc" y="b"/>
              </a:cxn>
              <a:cxn ang="cd2">
                <a:pos x="l" y="vc"/>
              </a:cxn>
              <a:cxn ang="f28">
                <a:pos x="f66" y="f67"/>
              </a:cxn>
              <a:cxn ang="f29">
                <a:pos x="f66" y="f69"/>
              </a:cxn>
              <a:cxn ang="f29">
                <a:pos x="f68" y="f69"/>
              </a:cxn>
              <a:cxn ang="f28">
                <a:pos x="f68" y="f67"/>
              </a:cxn>
            </a:cxnLst>
            <a:rect l="f66" t="f67" r="f68" b="f69"/>
            <a:pathLst>
              <a:path>
                <a:moveTo>
                  <a:pt x="f37" y="f50"/>
                </a:moveTo>
                <a:arcTo wR="f47" hR="f48" stAng="f1" swAng="f0"/>
                <a:close/>
              </a:path>
            </a:pathLst>
          </a:custGeom>
          <a:solidFill>
            <a:srgbClr val="2DA2BF"/>
          </a:solidFill>
          <a:ln w="57150" cap="rnd">
            <a:solidFill>
              <a:srgbClr val="FFFFFF"/>
            </a:solidFill>
            <a:prstDash val="solid"/>
            <a:miter/>
          </a:ln>
        </p:spPr>
        <p:txBody>
          <a:bodyPr vert="horz" wrap="square" lIns="91440" tIns="45720" rIns="91440" bIns="45720"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pt-PT" sz="1600" b="1" i="0" u="none" strike="noStrike" kern="1200" cap="none" spc="0" baseline="0">
                <a:solidFill>
                  <a:schemeClr val="bg1"/>
                </a:solidFill>
                <a:uFillTx/>
                <a:latin typeface="Verdana" panose="020B0604030504040204" pitchFamily="34" charset="0"/>
                <a:ea typeface="Verdana" panose="020B0604030504040204" pitchFamily="34" charset="0"/>
              </a:rPr>
              <a:t>4</a:t>
            </a:r>
          </a:p>
        </p:txBody>
      </p:sp>
      <p:sp>
        <p:nvSpPr>
          <p:cNvPr id="23" name="Oval 10"/>
          <p:cNvSpPr/>
          <p:nvPr/>
        </p:nvSpPr>
        <p:spPr>
          <a:xfrm>
            <a:off x="2484608" y="4243328"/>
            <a:ext cx="473861" cy="478093"/>
          </a:xfrm>
          <a:custGeom>
            <a:avLst/>
            <a:gdLst>
              <a:gd name="f0" fmla="val 21600000"/>
              <a:gd name="f1" fmla="val 10800000"/>
              <a:gd name="f2" fmla="val 5400000"/>
              <a:gd name="f3" fmla="val 180"/>
              <a:gd name="f4" fmla="val w"/>
              <a:gd name="f5" fmla="val h"/>
              <a:gd name="f6" fmla="val ss"/>
              <a:gd name="f7" fmla="val 0"/>
              <a:gd name="f8" fmla="*/ 5419351 1 1725033"/>
              <a:gd name="f9" fmla="+- 0 0 -360"/>
              <a:gd name="f10" fmla="+- 0 0 -180"/>
              <a:gd name="f11" fmla="abs f4"/>
              <a:gd name="f12" fmla="abs f5"/>
              <a:gd name="f13" fmla="abs f6"/>
              <a:gd name="f14" fmla="+- 2700000 f2 0"/>
              <a:gd name="f15" fmla="*/ f9 f1 1"/>
              <a:gd name="f16" fmla="*/ f10 f1 1"/>
              <a:gd name="f17" fmla="?: f11 f4 1"/>
              <a:gd name="f18" fmla="?: f12 f5 1"/>
              <a:gd name="f19" fmla="?: f13 f6 1"/>
              <a:gd name="f20" fmla="+- f14 0 f2"/>
              <a:gd name="f21" fmla="*/ f15 1 f3"/>
              <a:gd name="f22" fmla="*/ f16 1 f3"/>
              <a:gd name="f23" fmla="*/ f17 1 21600"/>
              <a:gd name="f24" fmla="*/ f18 1 21600"/>
              <a:gd name="f25" fmla="*/ 21600 f17 1"/>
              <a:gd name="f26" fmla="*/ 21600 f18 1"/>
              <a:gd name="f27" fmla="+- f20 f2 0"/>
              <a:gd name="f28" fmla="+- f21 0 f2"/>
              <a:gd name="f29" fmla="+- f22 0 f2"/>
              <a:gd name="f30" fmla="min f24 f23"/>
              <a:gd name="f31" fmla="*/ f25 1 f19"/>
              <a:gd name="f32" fmla="*/ f26 1 f19"/>
              <a:gd name="f33" fmla="*/ f27 f8 1"/>
              <a:gd name="f34" fmla="val f31"/>
              <a:gd name="f35" fmla="val f32"/>
              <a:gd name="f36" fmla="*/ f33 1 f1"/>
              <a:gd name="f37" fmla="*/ f7 f30 1"/>
              <a:gd name="f38" fmla="+- f35 0 f7"/>
              <a:gd name="f39" fmla="+- f34 0 f7"/>
              <a:gd name="f40" fmla="+- 0 0 f36"/>
              <a:gd name="f41" fmla="*/ f38 1 2"/>
              <a:gd name="f42" fmla="*/ f39 1 2"/>
              <a:gd name="f43" fmla="+- 0 0 f40"/>
              <a:gd name="f44" fmla="+- f7 f41 0"/>
              <a:gd name="f45" fmla="+- f7 f42 0"/>
              <a:gd name="f46" fmla="*/ f43 f1 1"/>
              <a:gd name="f47" fmla="*/ f42 f30 1"/>
              <a:gd name="f48" fmla="*/ f41 f30 1"/>
              <a:gd name="f49" fmla="*/ f46 1 f8"/>
              <a:gd name="f50" fmla="*/ f44 f30 1"/>
              <a:gd name="f51" fmla="+- f49 0 f2"/>
              <a:gd name="f52" fmla="cos 1 f51"/>
              <a:gd name="f53" fmla="sin 1 f51"/>
              <a:gd name="f54" fmla="+- 0 0 f52"/>
              <a:gd name="f55" fmla="+- 0 0 f53"/>
              <a:gd name="f56" fmla="+- 0 0 f54"/>
              <a:gd name="f57" fmla="+- 0 0 f55"/>
              <a:gd name="f58" fmla="val f56"/>
              <a:gd name="f59" fmla="val f57"/>
              <a:gd name="f60" fmla="*/ f58 f42 1"/>
              <a:gd name="f61" fmla="*/ f59 f41 1"/>
              <a:gd name="f62" fmla="+- f45 0 f60"/>
              <a:gd name="f63" fmla="+- f45 f60 0"/>
              <a:gd name="f64" fmla="+- f44 0 f61"/>
              <a:gd name="f65" fmla="+- f44 f61 0"/>
              <a:gd name="f66" fmla="*/ f62 f30 1"/>
              <a:gd name="f67" fmla="*/ f64 f30 1"/>
              <a:gd name="f68" fmla="*/ f63 f30 1"/>
              <a:gd name="f69" fmla="*/ f65 f30 1"/>
            </a:gdLst>
            <a:ahLst/>
            <a:cxnLst>
              <a:cxn ang="3cd4">
                <a:pos x="hc" y="t"/>
              </a:cxn>
              <a:cxn ang="0">
                <a:pos x="r" y="vc"/>
              </a:cxn>
              <a:cxn ang="cd4">
                <a:pos x="hc" y="b"/>
              </a:cxn>
              <a:cxn ang="cd2">
                <a:pos x="l" y="vc"/>
              </a:cxn>
              <a:cxn ang="f28">
                <a:pos x="f66" y="f67"/>
              </a:cxn>
              <a:cxn ang="f29">
                <a:pos x="f66" y="f69"/>
              </a:cxn>
              <a:cxn ang="f29">
                <a:pos x="f68" y="f69"/>
              </a:cxn>
              <a:cxn ang="f28">
                <a:pos x="f68" y="f67"/>
              </a:cxn>
            </a:cxnLst>
            <a:rect l="f66" t="f67" r="f68" b="f69"/>
            <a:pathLst>
              <a:path>
                <a:moveTo>
                  <a:pt x="f37" y="f50"/>
                </a:moveTo>
                <a:arcTo wR="f47" hR="f48" stAng="f1" swAng="f0"/>
                <a:close/>
              </a:path>
            </a:pathLst>
          </a:custGeom>
          <a:solidFill>
            <a:srgbClr val="2DA2BF"/>
          </a:solidFill>
          <a:ln w="57150" cap="rnd">
            <a:solidFill>
              <a:srgbClr val="FFFFFF"/>
            </a:solidFill>
            <a:prstDash val="solid"/>
            <a:miter/>
          </a:ln>
        </p:spPr>
        <p:txBody>
          <a:bodyPr vert="horz" wrap="square" lIns="91440" tIns="45720" rIns="91440" bIns="45720"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pt-PT" sz="1600" b="1" i="0" u="none" strike="noStrike" kern="1200" cap="none" spc="0" baseline="0">
                <a:solidFill>
                  <a:schemeClr val="bg1"/>
                </a:solidFill>
                <a:uFillTx/>
                <a:latin typeface="Verdana" panose="020B0604030504040204" pitchFamily="34" charset="0"/>
                <a:ea typeface="Verdana" panose="020B0604030504040204" pitchFamily="34" charset="0"/>
              </a:rPr>
              <a:t>1</a:t>
            </a:r>
          </a:p>
        </p:txBody>
      </p:sp>
      <p:sp>
        <p:nvSpPr>
          <p:cNvPr id="24" name="Isosceles Triangle 23"/>
          <p:cNvSpPr/>
          <p:nvPr/>
        </p:nvSpPr>
        <p:spPr>
          <a:xfrm rot="5400000">
            <a:off x="10966135" y="4373022"/>
            <a:ext cx="257435" cy="218705"/>
          </a:xfrm>
          <a:prstGeom prst="triangle">
            <a:avLst/>
          </a:prstGeom>
          <a:solidFill>
            <a:srgbClr val="2DA2BF"/>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 name="TextBox 4"/>
          <p:cNvSpPr txBox="1"/>
          <p:nvPr/>
        </p:nvSpPr>
        <p:spPr>
          <a:xfrm>
            <a:off x="4528483" y="3491694"/>
            <a:ext cx="3135034" cy="486652"/>
          </a:xfrm>
          <a:prstGeom prst="rect">
            <a:avLst/>
          </a:prstGeom>
          <a:noFill/>
        </p:spPr>
        <p:txBody>
          <a:bodyPr wrap="square" lIns="91440" tIns="45720" rIns="91440" bIns="45720" rtlCol="0" anchor="t">
            <a:noAutofit/>
          </a:bodyPr>
          <a:lstStyle/>
          <a:p>
            <a:pPr algn="ctr">
              <a:lnSpc>
                <a:spcPct val="150000"/>
              </a:lnSpc>
              <a:defRPr/>
            </a:pPr>
            <a:r>
              <a:rPr lang="en-US" b="1" kern="0">
                <a:solidFill>
                  <a:srgbClr val="2DA2BF"/>
                </a:solidFill>
                <a:latin typeface="Verdana" panose="020B0604030504040204" pitchFamily="34" charset="0"/>
                <a:ea typeface="Verdana" panose="020B0604030504040204" pitchFamily="34" charset="0"/>
              </a:rPr>
              <a:t>Flow of the activity</a:t>
            </a:r>
          </a:p>
        </p:txBody>
      </p:sp>
      <p:grpSp>
        <p:nvGrpSpPr>
          <p:cNvPr id="35" name="Conversation4" descr="{&quot;Key&quot;:&quot;POWER_USER_SHAPE_ICON&quot;,&quot;Value&quot;:&quot;POWER_USER_SHAPE_ICON_STYLE_1&quot;}"/>
          <p:cNvGrpSpPr>
            <a:grpSpLocks noChangeAspect="1"/>
          </p:cNvGrpSpPr>
          <p:nvPr>
            <p:custDataLst>
              <p:tags r:id="rId2"/>
            </p:custDataLst>
          </p:nvPr>
        </p:nvGrpSpPr>
        <p:grpSpPr>
          <a:xfrm>
            <a:off x="9130143" y="5946665"/>
            <a:ext cx="623009" cy="542925"/>
            <a:chOff x="5662613" y="1677988"/>
            <a:chExt cx="839788" cy="731838"/>
          </a:xfrm>
          <a:solidFill>
            <a:srgbClr val="2DA2BF"/>
          </a:solidFill>
        </p:grpSpPr>
        <p:sp>
          <p:nvSpPr>
            <p:cNvPr id="36" name="Freeform 46"/>
            <p:cNvSpPr>
              <a:spLocks/>
            </p:cNvSpPr>
            <p:nvPr/>
          </p:nvSpPr>
          <p:spPr bwMode="auto">
            <a:xfrm>
              <a:off x="6046788" y="1919288"/>
              <a:ext cx="290513" cy="233363"/>
            </a:xfrm>
            <a:custGeom>
              <a:avLst/>
              <a:gdLst>
                <a:gd name="T0" fmla="*/ 258 w 410"/>
                <a:gd name="T1" fmla="*/ 328 h 328"/>
                <a:gd name="T2" fmla="*/ 270 w 410"/>
                <a:gd name="T3" fmla="*/ 322 h 328"/>
                <a:gd name="T4" fmla="*/ 268 w 410"/>
                <a:gd name="T5" fmla="*/ 309 h 328"/>
                <a:gd name="T6" fmla="*/ 253 w 410"/>
                <a:gd name="T7" fmla="*/ 270 h 328"/>
                <a:gd name="T8" fmla="*/ 330 w 410"/>
                <a:gd name="T9" fmla="*/ 226 h 328"/>
                <a:gd name="T10" fmla="*/ 410 w 410"/>
                <a:gd name="T11" fmla="*/ 131 h 328"/>
                <a:gd name="T12" fmla="*/ 301 w 410"/>
                <a:gd name="T13" fmla="*/ 0 h 328"/>
                <a:gd name="T14" fmla="*/ 0 w 410"/>
                <a:gd name="T15" fmla="*/ 184 h 328"/>
                <a:gd name="T16" fmla="*/ 258 w 410"/>
                <a:gd name="T17" fmla="*/ 328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0" h="328">
                  <a:moveTo>
                    <a:pt x="258" y="328"/>
                  </a:moveTo>
                  <a:cubicBezTo>
                    <a:pt x="261" y="328"/>
                    <a:pt x="268" y="328"/>
                    <a:pt x="270" y="322"/>
                  </a:cubicBezTo>
                  <a:cubicBezTo>
                    <a:pt x="273" y="318"/>
                    <a:pt x="272" y="312"/>
                    <a:pt x="268" y="309"/>
                  </a:cubicBezTo>
                  <a:cubicBezTo>
                    <a:pt x="268" y="309"/>
                    <a:pt x="248" y="289"/>
                    <a:pt x="253" y="270"/>
                  </a:cubicBezTo>
                  <a:cubicBezTo>
                    <a:pt x="257" y="257"/>
                    <a:pt x="273" y="239"/>
                    <a:pt x="330" y="226"/>
                  </a:cubicBezTo>
                  <a:cubicBezTo>
                    <a:pt x="402" y="209"/>
                    <a:pt x="410" y="154"/>
                    <a:pt x="410" y="131"/>
                  </a:cubicBezTo>
                  <a:cubicBezTo>
                    <a:pt x="410" y="75"/>
                    <a:pt x="366" y="25"/>
                    <a:pt x="301" y="0"/>
                  </a:cubicBezTo>
                  <a:cubicBezTo>
                    <a:pt x="233" y="99"/>
                    <a:pt x="90" y="156"/>
                    <a:pt x="0" y="184"/>
                  </a:cubicBezTo>
                  <a:cubicBezTo>
                    <a:pt x="55" y="282"/>
                    <a:pt x="249" y="326"/>
                    <a:pt x="258" y="328"/>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7" name="Freeform 47"/>
            <p:cNvSpPr>
              <a:spLocks noEditPoints="1"/>
            </p:cNvSpPr>
            <p:nvPr/>
          </p:nvSpPr>
          <p:spPr bwMode="auto">
            <a:xfrm>
              <a:off x="5827713" y="1677988"/>
              <a:ext cx="430213" cy="358775"/>
            </a:xfrm>
            <a:custGeom>
              <a:avLst/>
              <a:gdLst>
                <a:gd name="T0" fmla="*/ 136 w 606"/>
                <a:gd name="T1" fmla="*/ 321 h 506"/>
                <a:gd name="T2" fmla="*/ 50 w 606"/>
                <a:gd name="T3" fmla="*/ 222 h 506"/>
                <a:gd name="T4" fmla="*/ 303 w 606"/>
                <a:gd name="T5" fmla="*/ 50 h 506"/>
                <a:gd name="T6" fmla="*/ 513 w 606"/>
                <a:gd name="T7" fmla="*/ 126 h 506"/>
                <a:gd name="T8" fmla="*/ 555 w 606"/>
                <a:gd name="T9" fmla="*/ 222 h 506"/>
                <a:gd name="T10" fmla="*/ 247 w 606"/>
                <a:gd name="T11" fmla="*/ 447 h 506"/>
                <a:gd name="T12" fmla="*/ 255 w 606"/>
                <a:gd name="T13" fmla="*/ 396 h 506"/>
                <a:gd name="T14" fmla="*/ 136 w 606"/>
                <a:gd name="T15" fmla="*/ 321 h 506"/>
                <a:gd name="T16" fmla="*/ 229 w 606"/>
                <a:gd name="T17" fmla="*/ 503 h 506"/>
                <a:gd name="T18" fmla="*/ 605 w 606"/>
                <a:gd name="T19" fmla="*/ 222 h 506"/>
                <a:gd name="T20" fmla="*/ 549 w 606"/>
                <a:gd name="T21" fmla="*/ 91 h 506"/>
                <a:gd name="T22" fmla="*/ 303 w 606"/>
                <a:gd name="T23" fmla="*/ 0 h 506"/>
                <a:gd name="T24" fmla="*/ 0 w 606"/>
                <a:gd name="T25" fmla="*/ 222 h 506"/>
                <a:gd name="T26" fmla="*/ 125 w 606"/>
                <a:gd name="T27" fmla="*/ 370 h 506"/>
                <a:gd name="T28" fmla="*/ 207 w 606"/>
                <a:gd name="T29" fmla="*/ 409 h 506"/>
                <a:gd name="T30" fmla="*/ 194 w 606"/>
                <a:gd name="T31" fmla="*/ 435 h 506"/>
                <a:gd name="T32" fmla="*/ 186 w 606"/>
                <a:gd name="T33" fmla="*/ 482 h 506"/>
                <a:gd name="T34" fmla="*/ 229 w 606"/>
                <a:gd name="T35" fmla="*/ 503 h 5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06" h="506">
                  <a:moveTo>
                    <a:pt x="136" y="321"/>
                  </a:moveTo>
                  <a:cubicBezTo>
                    <a:pt x="61" y="304"/>
                    <a:pt x="50" y="251"/>
                    <a:pt x="50" y="222"/>
                  </a:cubicBezTo>
                  <a:cubicBezTo>
                    <a:pt x="50" y="127"/>
                    <a:pt x="164" y="50"/>
                    <a:pt x="303" y="50"/>
                  </a:cubicBezTo>
                  <a:cubicBezTo>
                    <a:pt x="387" y="50"/>
                    <a:pt x="466" y="79"/>
                    <a:pt x="513" y="126"/>
                  </a:cubicBezTo>
                  <a:cubicBezTo>
                    <a:pt x="541" y="155"/>
                    <a:pt x="556" y="188"/>
                    <a:pt x="555" y="222"/>
                  </a:cubicBezTo>
                  <a:cubicBezTo>
                    <a:pt x="554" y="352"/>
                    <a:pt x="329" y="425"/>
                    <a:pt x="247" y="447"/>
                  </a:cubicBezTo>
                  <a:cubicBezTo>
                    <a:pt x="254" y="433"/>
                    <a:pt x="260" y="415"/>
                    <a:pt x="255" y="396"/>
                  </a:cubicBezTo>
                  <a:cubicBezTo>
                    <a:pt x="246" y="362"/>
                    <a:pt x="207" y="337"/>
                    <a:pt x="136" y="321"/>
                  </a:cubicBezTo>
                  <a:close/>
                  <a:moveTo>
                    <a:pt x="229" y="503"/>
                  </a:moveTo>
                  <a:cubicBezTo>
                    <a:pt x="268" y="494"/>
                    <a:pt x="603" y="414"/>
                    <a:pt x="605" y="222"/>
                  </a:cubicBezTo>
                  <a:cubicBezTo>
                    <a:pt x="606" y="175"/>
                    <a:pt x="586" y="129"/>
                    <a:pt x="549" y="91"/>
                  </a:cubicBezTo>
                  <a:cubicBezTo>
                    <a:pt x="492" y="34"/>
                    <a:pt x="400" y="0"/>
                    <a:pt x="303" y="0"/>
                  </a:cubicBezTo>
                  <a:cubicBezTo>
                    <a:pt x="136" y="0"/>
                    <a:pt x="0" y="100"/>
                    <a:pt x="0" y="222"/>
                  </a:cubicBezTo>
                  <a:cubicBezTo>
                    <a:pt x="0" y="250"/>
                    <a:pt x="9" y="343"/>
                    <a:pt x="125" y="370"/>
                  </a:cubicBezTo>
                  <a:cubicBezTo>
                    <a:pt x="185" y="383"/>
                    <a:pt x="204" y="401"/>
                    <a:pt x="207" y="409"/>
                  </a:cubicBezTo>
                  <a:cubicBezTo>
                    <a:pt x="208" y="416"/>
                    <a:pt x="200" y="429"/>
                    <a:pt x="194" y="435"/>
                  </a:cubicBezTo>
                  <a:cubicBezTo>
                    <a:pt x="181" y="447"/>
                    <a:pt x="178" y="466"/>
                    <a:pt x="186" y="482"/>
                  </a:cubicBezTo>
                  <a:cubicBezTo>
                    <a:pt x="195" y="501"/>
                    <a:pt x="216" y="506"/>
                    <a:pt x="229" y="503"/>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8" name="Freeform 48"/>
            <p:cNvSpPr>
              <a:spLocks/>
            </p:cNvSpPr>
            <p:nvPr/>
          </p:nvSpPr>
          <p:spPr bwMode="auto">
            <a:xfrm>
              <a:off x="5662613" y="2246313"/>
              <a:ext cx="381000" cy="163513"/>
            </a:xfrm>
            <a:custGeom>
              <a:avLst/>
              <a:gdLst>
                <a:gd name="T0" fmla="*/ 537 w 537"/>
                <a:gd name="T1" fmla="*/ 198 h 231"/>
                <a:gd name="T2" fmla="*/ 268 w 537"/>
                <a:gd name="T3" fmla="*/ 0 h 231"/>
                <a:gd name="T4" fmla="*/ 0 w 537"/>
                <a:gd name="T5" fmla="*/ 198 h 231"/>
                <a:gd name="T6" fmla="*/ 0 w 537"/>
                <a:gd name="T7" fmla="*/ 231 h 231"/>
                <a:gd name="T8" fmla="*/ 537 w 537"/>
                <a:gd name="T9" fmla="*/ 231 h 231"/>
                <a:gd name="T10" fmla="*/ 537 w 537"/>
                <a:gd name="T11" fmla="*/ 198 h 231"/>
              </a:gdLst>
              <a:ahLst/>
              <a:cxnLst>
                <a:cxn ang="0">
                  <a:pos x="T0" y="T1"/>
                </a:cxn>
                <a:cxn ang="0">
                  <a:pos x="T2" y="T3"/>
                </a:cxn>
                <a:cxn ang="0">
                  <a:pos x="T4" y="T5"/>
                </a:cxn>
                <a:cxn ang="0">
                  <a:pos x="T6" y="T7"/>
                </a:cxn>
                <a:cxn ang="0">
                  <a:pos x="T8" y="T9"/>
                </a:cxn>
                <a:cxn ang="0">
                  <a:pos x="T10" y="T11"/>
                </a:cxn>
              </a:cxnLst>
              <a:rect l="0" t="0" r="r" b="b"/>
              <a:pathLst>
                <a:path w="537" h="231">
                  <a:moveTo>
                    <a:pt x="537" y="198"/>
                  </a:moveTo>
                  <a:cubicBezTo>
                    <a:pt x="537" y="72"/>
                    <a:pt x="416" y="0"/>
                    <a:pt x="268" y="0"/>
                  </a:cubicBezTo>
                  <a:cubicBezTo>
                    <a:pt x="120" y="0"/>
                    <a:pt x="0" y="72"/>
                    <a:pt x="0" y="198"/>
                  </a:cubicBezTo>
                  <a:lnTo>
                    <a:pt x="0" y="231"/>
                  </a:lnTo>
                  <a:lnTo>
                    <a:pt x="537" y="231"/>
                  </a:lnTo>
                  <a:lnTo>
                    <a:pt x="537" y="19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9" name="Oval 49"/>
            <p:cNvSpPr>
              <a:spLocks noChangeArrowheads="1"/>
            </p:cNvSpPr>
            <p:nvPr/>
          </p:nvSpPr>
          <p:spPr bwMode="auto">
            <a:xfrm>
              <a:off x="6276975" y="2097088"/>
              <a:ext cx="166688" cy="166688"/>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0" name="Freeform 50"/>
            <p:cNvSpPr>
              <a:spLocks/>
            </p:cNvSpPr>
            <p:nvPr/>
          </p:nvSpPr>
          <p:spPr bwMode="auto">
            <a:xfrm>
              <a:off x="6218238" y="2287588"/>
              <a:ext cx="284163" cy="122238"/>
            </a:xfrm>
            <a:custGeom>
              <a:avLst/>
              <a:gdLst>
                <a:gd name="T0" fmla="*/ 0 w 401"/>
                <a:gd name="T1" fmla="*/ 148 h 173"/>
                <a:gd name="T2" fmla="*/ 0 w 401"/>
                <a:gd name="T3" fmla="*/ 173 h 173"/>
                <a:gd name="T4" fmla="*/ 401 w 401"/>
                <a:gd name="T5" fmla="*/ 173 h 173"/>
                <a:gd name="T6" fmla="*/ 401 w 401"/>
                <a:gd name="T7" fmla="*/ 148 h 173"/>
                <a:gd name="T8" fmla="*/ 200 w 401"/>
                <a:gd name="T9" fmla="*/ 0 h 173"/>
                <a:gd name="T10" fmla="*/ 0 w 401"/>
                <a:gd name="T11" fmla="*/ 148 h 173"/>
              </a:gdLst>
              <a:ahLst/>
              <a:cxnLst>
                <a:cxn ang="0">
                  <a:pos x="T0" y="T1"/>
                </a:cxn>
                <a:cxn ang="0">
                  <a:pos x="T2" y="T3"/>
                </a:cxn>
                <a:cxn ang="0">
                  <a:pos x="T4" y="T5"/>
                </a:cxn>
                <a:cxn ang="0">
                  <a:pos x="T6" y="T7"/>
                </a:cxn>
                <a:cxn ang="0">
                  <a:pos x="T8" y="T9"/>
                </a:cxn>
                <a:cxn ang="0">
                  <a:pos x="T10" y="T11"/>
                </a:cxn>
              </a:cxnLst>
              <a:rect l="0" t="0" r="r" b="b"/>
              <a:pathLst>
                <a:path w="401" h="173">
                  <a:moveTo>
                    <a:pt x="0" y="148"/>
                  </a:moveTo>
                  <a:lnTo>
                    <a:pt x="0" y="173"/>
                  </a:lnTo>
                  <a:lnTo>
                    <a:pt x="401" y="173"/>
                  </a:lnTo>
                  <a:lnTo>
                    <a:pt x="401" y="148"/>
                  </a:lnTo>
                  <a:cubicBezTo>
                    <a:pt x="401" y="54"/>
                    <a:pt x="311" y="0"/>
                    <a:pt x="200" y="0"/>
                  </a:cubicBezTo>
                  <a:cubicBezTo>
                    <a:pt x="90" y="0"/>
                    <a:pt x="0" y="54"/>
                    <a:pt x="0" y="148"/>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1" name="Rectangle 51"/>
            <p:cNvSpPr>
              <a:spLocks noChangeArrowheads="1"/>
            </p:cNvSpPr>
            <p:nvPr/>
          </p:nvSpPr>
          <p:spPr bwMode="auto">
            <a:xfrm>
              <a:off x="5937250" y="1776413"/>
              <a:ext cx="219075" cy="30163"/>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2" name="Rectangle 52"/>
            <p:cNvSpPr>
              <a:spLocks noChangeArrowheads="1"/>
            </p:cNvSpPr>
            <p:nvPr/>
          </p:nvSpPr>
          <p:spPr bwMode="auto">
            <a:xfrm>
              <a:off x="5937250" y="1847850"/>
              <a:ext cx="219075" cy="30163"/>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3" name="Oval 53"/>
            <p:cNvSpPr>
              <a:spLocks noChangeArrowheads="1"/>
            </p:cNvSpPr>
            <p:nvPr/>
          </p:nvSpPr>
          <p:spPr bwMode="auto">
            <a:xfrm>
              <a:off x="5741988" y="1992313"/>
              <a:ext cx="222250" cy="22225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51" name="Complementarity" descr="{&quot;Key&quot;:&quot;POWER_USER_SHAPE_ICON&quot;,&quot;Value&quot;:&quot;POWER_USER_SHAPE_ICON_STYLE_1&quot;}"/>
          <p:cNvGrpSpPr>
            <a:grpSpLocks noChangeAspect="1"/>
          </p:cNvGrpSpPr>
          <p:nvPr>
            <p:custDataLst>
              <p:tags r:id="rId3"/>
            </p:custDataLst>
          </p:nvPr>
        </p:nvGrpSpPr>
        <p:grpSpPr>
          <a:xfrm>
            <a:off x="6708395" y="5946665"/>
            <a:ext cx="890504" cy="542925"/>
            <a:chOff x="6630988" y="1608138"/>
            <a:chExt cx="1049337" cy="639763"/>
          </a:xfrm>
          <a:solidFill>
            <a:srgbClr val="2DA2BF"/>
          </a:solidFill>
        </p:grpSpPr>
        <p:sp>
          <p:nvSpPr>
            <p:cNvPr id="52" name="Freeform 175"/>
            <p:cNvSpPr>
              <a:spLocks/>
            </p:cNvSpPr>
            <p:nvPr/>
          </p:nvSpPr>
          <p:spPr bwMode="auto">
            <a:xfrm>
              <a:off x="6835775" y="1719263"/>
              <a:ext cx="355600" cy="528638"/>
            </a:xfrm>
            <a:custGeom>
              <a:avLst/>
              <a:gdLst>
                <a:gd name="T0" fmla="*/ 320 w 468"/>
                <a:gd name="T1" fmla="*/ 247 h 695"/>
                <a:gd name="T2" fmla="*/ 345 w 468"/>
                <a:gd name="T3" fmla="*/ 238 h 695"/>
                <a:gd name="T4" fmla="*/ 373 w 468"/>
                <a:gd name="T5" fmla="*/ 230 h 695"/>
                <a:gd name="T6" fmla="*/ 423 w 468"/>
                <a:gd name="T7" fmla="*/ 281 h 695"/>
                <a:gd name="T8" fmla="*/ 408 w 468"/>
                <a:gd name="T9" fmla="*/ 317 h 695"/>
                <a:gd name="T10" fmla="*/ 374 w 468"/>
                <a:gd name="T11" fmla="*/ 331 h 695"/>
                <a:gd name="T12" fmla="*/ 347 w 468"/>
                <a:gd name="T13" fmla="*/ 324 h 695"/>
                <a:gd name="T14" fmla="*/ 320 w 468"/>
                <a:gd name="T15" fmla="*/ 315 h 695"/>
                <a:gd name="T16" fmla="*/ 287 w 468"/>
                <a:gd name="T17" fmla="*/ 348 h 695"/>
                <a:gd name="T18" fmla="*/ 287 w 468"/>
                <a:gd name="T19" fmla="*/ 516 h 695"/>
                <a:gd name="T20" fmla="*/ 157 w 468"/>
                <a:gd name="T21" fmla="*/ 516 h 695"/>
                <a:gd name="T22" fmla="*/ 86 w 468"/>
                <a:gd name="T23" fmla="*/ 579 h 695"/>
                <a:gd name="T24" fmla="*/ 0 w 468"/>
                <a:gd name="T25" fmla="*/ 668 h 695"/>
                <a:gd name="T26" fmla="*/ 59 w 468"/>
                <a:gd name="T27" fmla="*/ 677 h 695"/>
                <a:gd name="T28" fmla="*/ 73 w 468"/>
                <a:gd name="T29" fmla="*/ 618 h 695"/>
                <a:gd name="T30" fmla="*/ 127 w 468"/>
                <a:gd name="T31" fmla="*/ 621 h 695"/>
                <a:gd name="T32" fmla="*/ 141 w 468"/>
                <a:gd name="T33" fmla="*/ 562 h 695"/>
                <a:gd name="T34" fmla="*/ 309 w 468"/>
                <a:gd name="T35" fmla="*/ 562 h 695"/>
                <a:gd name="T36" fmla="*/ 332 w 468"/>
                <a:gd name="T37" fmla="*/ 539 h 695"/>
                <a:gd name="T38" fmla="*/ 332 w 468"/>
                <a:gd name="T39" fmla="*/ 368 h 695"/>
                <a:gd name="T40" fmla="*/ 373 w 468"/>
                <a:gd name="T41" fmla="*/ 377 h 695"/>
                <a:gd name="T42" fmla="*/ 441 w 468"/>
                <a:gd name="T43" fmla="*/ 348 h 695"/>
                <a:gd name="T44" fmla="*/ 468 w 468"/>
                <a:gd name="T45" fmla="*/ 281 h 695"/>
                <a:gd name="T46" fmla="*/ 373 w 468"/>
                <a:gd name="T47" fmla="*/ 185 h 695"/>
                <a:gd name="T48" fmla="*/ 332 w 468"/>
                <a:gd name="T49" fmla="*/ 194 h 695"/>
                <a:gd name="T50" fmla="*/ 332 w 468"/>
                <a:gd name="T51" fmla="*/ 22 h 695"/>
                <a:gd name="T52" fmla="*/ 309 w 468"/>
                <a:gd name="T53" fmla="*/ 0 h 695"/>
                <a:gd name="T54" fmla="*/ 66 w 468"/>
                <a:gd name="T55" fmla="*/ 0 h 695"/>
                <a:gd name="T56" fmla="*/ 27 w 468"/>
                <a:gd name="T57" fmla="*/ 39 h 695"/>
                <a:gd name="T58" fmla="*/ 27 w 468"/>
                <a:gd name="T59" fmla="*/ 392 h 695"/>
                <a:gd name="T60" fmla="*/ 72 w 468"/>
                <a:gd name="T61" fmla="*/ 354 h 695"/>
                <a:gd name="T62" fmla="*/ 72 w 468"/>
                <a:gd name="T63" fmla="*/ 45 h 695"/>
                <a:gd name="T64" fmla="*/ 287 w 468"/>
                <a:gd name="T65" fmla="*/ 45 h 695"/>
                <a:gd name="T66" fmla="*/ 287 w 468"/>
                <a:gd name="T67" fmla="*/ 214 h 695"/>
                <a:gd name="T68" fmla="*/ 320 w 468"/>
                <a:gd name="T69" fmla="*/ 247 h 6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68" h="695">
                  <a:moveTo>
                    <a:pt x="320" y="247"/>
                  </a:moveTo>
                  <a:cubicBezTo>
                    <a:pt x="329" y="247"/>
                    <a:pt x="337" y="244"/>
                    <a:pt x="345" y="238"/>
                  </a:cubicBezTo>
                  <a:cubicBezTo>
                    <a:pt x="345" y="238"/>
                    <a:pt x="359" y="230"/>
                    <a:pt x="373" y="230"/>
                  </a:cubicBezTo>
                  <a:cubicBezTo>
                    <a:pt x="401" y="230"/>
                    <a:pt x="423" y="253"/>
                    <a:pt x="423" y="281"/>
                  </a:cubicBezTo>
                  <a:cubicBezTo>
                    <a:pt x="423" y="294"/>
                    <a:pt x="418" y="307"/>
                    <a:pt x="408" y="317"/>
                  </a:cubicBezTo>
                  <a:cubicBezTo>
                    <a:pt x="399" y="326"/>
                    <a:pt x="387" y="331"/>
                    <a:pt x="374" y="331"/>
                  </a:cubicBezTo>
                  <a:cubicBezTo>
                    <a:pt x="358" y="331"/>
                    <a:pt x="351" y="327"/>
                    <a:pt x="347" y="324"/>
                  </a:cubicBezTo>
                  <a:cubicBezTo>
                    <a:pt x="337" y="318"/>
                    <a:pt x="329" y="315"/>
                    <a:pt x="320" y="315"/>
                  </a:cubicBezTo>
                  <a:cubicBezTo>
                    <a:pt x="303" y="315"/>
                    <a:pt x="287" y="330"/>
                    <a:pt x="287" y="348"/>
                  </a:cubicBezTo>
                  <a:lnTo>
                    <a:pt x="287" y="516"/>
                  </a:lnTo>
                  <a:lnTo>
                    <a:pt x="157" y="516"/>
                  </a:lnTo>
                  <a:lnTo>
                    <a:pt x="86" y="579"/>
                  </a:lnTo>
                  <a:lnTo>
                    <a:pt x="0" y="668"/>
                  </a:lnTo>
                  <a:cubicBezTo>
                    <a:pt x="18" y="695"/>
                    <a:pt x="59" y="677"/>
                    <a:pt x="59" y="677"/>
                  </a:cubicBezTo>
                  <a:lnTo>
                    <a:pt x="73" y="618"/>
                  </a:lnTo>
                  <a:cubicBezTo>
                    <a:pt x="92" y="636"/>
                    <a:pt x="127" y="621"/>
                    <a:pt x="127" y="621"/>
                  </a:cubicBezTo>
                  <a:lnTo>
                    <a:pt x="141" y="562"/>
                  </a:lnTo>
                  <a:lnTo>
                    <a:pt x="309" y="562"/>
                  </a:lnTo>
                  <a:cubicBezTo>
                    <a:pt x="322" y="562"/>
                    <a:pt x="332" y="552"/>
                    <a:pt x="332" y="539"/>
                  </a:cubicBezTo>
                  <a:lnTo>
                    <a:pt x="332" y="368"/>
                  </a:lnTo>
                  <a:cubicBezTo>
                    <a:pt x="344" y="374"/>
                    <a:pt x="358" y="376"/>
                    <a:pt x="373" y="377"/>
                  </a:cubicBezTo>
                  <a:cubicBezTo>
                    <a:pt x="399" y="377"/>
                    <a:pt x="423" y="367"/>
                    <a:pt x="441" y="348"/>
                  </a:cubicBezTo>
                  <a:cubicBezTo>
                    <a:pt x="459" y="330"/>
                    <a:pt x="468" y="306"/>
                    <a:pt x="468" y="281"/>
                  </a:cubicBezTo>
                  <a:cubicBezTo>
                    <a:pt x="468" y="228"/>
                    <a:pt x="426" y="185"/>
                    <a:pt x="373" y="185"/>
                  </a:cubicBezTo>
                  <a:cubicBezTo>
                    <a:pt x="357" y="185"/>
                    <a:pt x="342" y="190"/>
                    <a:pt x="332" y="194"/>
                  </a:cubicBezTo>
                  <a:lnTo>
                    <a:pt x="332" y="22"/>
                  </a:lnTo>
                  <a:cubicBezTo>
                    <a:pt x="332" y="10"/>
                    <a:pt x="322" y="0"/>
                    <a:pt x="309" y="0"/>
                  </a:cubicBezTo>
                  <a:lnTo>
                    <a:pt x="66" y="0"/>
                  </a:lnTo>
                  <a:cubicBezTo>
                    <a:pt x="45" y="0"/>
                    <a:pt x="27" y="17"/>
                    <a:pt x="27" y="39"/>
                  </a:cubicBezTo>
                  <a:lnTo>
                    <a:pt x="27" y="392"/>
                  </a:lnTo>
                  <a:lnTo>
                    <a:pt x="72" y="354"/>
                  </a:lnTo>
                  <a:lnTo>
                    <a:pt x="72" y="45"/>
                  </a:lnTo>
                  <a:lnTo>
                    <a:pt x="287" y="45"/>
                  </a:lnTo>
                  <a:lnTo>
                    <a:pt x="287" y="214"/>
                  </a:lnTo>
                  <a:cubicBezTo>
                    <a:pt x="287" y="231"/>
                    <a:pt x="301" y="247"/>
                    <a:pt x="320" y="247"/>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3" name="Freeform 176"/>
            <p:cNvSpPr>
              <a:spLocks/>
            </p:cNvSpPr>
            <p:nvPr/>
          </p:nvSpPr>
          <p:spPr bwMode="auto">
            <a:xfrm>
              <a:off x="7196138" y="1608138"/>
              <a:ext cx="280988" cy="538163"/>
            </a:xfrm>
            <a:custGeom>
              <a:avLst/>
              <a:gdLst>
                <a:gd name="T0" fmla="*/ 16 w 369"/>
                <a:gd name="T1" fmla="*/ 380 h 708"/>
                <a:gd name="T2" fmla="*/ 38 w 369"/>
                <a:gd name="T3" fmla="*/ 374 h 708"/>
                <a:gd name="T4" fmla="*/ 86 w 369"/>
                <a:gd name="T5" fmla="*/ 355 h 708"/>
                <a:gd name="T6" fmla="*/ 157 w 369"/>
                <a:gd name="T7" fmla="*/ 427 h 708"/>
                <a:gd name="T8" fmla="*/ 86 w 369"/>
                <a:gd name="T9" fmla="*/ 498 h 708"/>
                <a:gd name="T10" fmla="*/ 38 w 369"/>
                <a:gd name="T11" fmla="*/ 479 h 708"/>
                <a:gd name="T12" fmla="*/ 15 w 369"/>
                <a:gd name="T13" fmla="*/ 474 h 708"/>
                <a:gd name="T14" fmla="*/ 0 w 369"/>
                <a:gd name="T15" fmla="*/ 497 h 708"/>
                <a:gd name="T16" fmla="*/ 0 w 369"/>
                <a:gd name="T17" fmla="*/ 685 h 708"/>
                <a:gd name="T18" fmla="*/ 23 w 369"/>
                <a:gd name="T19" fmla="*/ 708 h 708"/>
                <a:gd name="T20" fmla="*/ 301 w 369"/>
                <a:gd name="T21" fmla="*/ 708 h 708"/>
                <a:gd name="T22" fmla="*/ 341 w 369"/>
                <a:gd name="T23" fmla="*/ 669 h 708"/>
                <a:gd name="T24" fmla="*/ 341 w 369"/>
                <a:gd name="T25" fmla="*/ 304 h 708"/>
                <a:gd name="T26" fmla="*/ 295 w 369"/>
                <a:gd name="T27" fmla="*/ 341 h 708"/>
                <a:gd name="T28" fmla="*/ 295 w 369"/>
                <a:gd name="T29" fmla="*/ 662 h 708"/>
                <a:gd name="T30" fmla="*/ 45 w 369"/>
                <a:gd name="T31" fmla="*/ 662 h 708"/>
                <a:gd name="T32" fmla="*/ 45 w 369"/>
                <a:gd name="T33" fmla="*/ 536 h 708"/>
                <a:gd name="T34" fmla="*/ 86 w 369"/>
                <a:gd name="T35" fmla="*/ 543 h 708"/>
                <a:gd name="T36" fmla="*/ 203 w 369"/>
                <a:gd name="T37" fmla="*/ 427 h 708"/>
                <a:gd name="T38" fmla="*/ 86 w 369"/>
                <a:gd name="T39" fmla="*/ 310 h 708"/>
                <a:gd name="T40" fmla="*/ 45 w 369"/>
                <a:gd name="T41" fmla="*/ 318 h 708"/>
                <a:gd name="T42" fmla="*/ 45 w 369"/>
                <a:gd name="T43" fmla="*/ 191 h 708"/>
                <a:gd name="T44" fmla="*/ 196 w 369"/>
                <a:gd name="T45" fmla="*/ 191 h 708"/>
                <a:gd name="T46" fmla="*/ 283 w 369"/>
                <a:gd name="T47" fmla="*/ 116 h 708"/>
                <a:gd name="T48" fmla="*/ 369 w 369"/>
                <a:gd name="T49" fmla="*/ 27 h 708"/>
                <a:gd name="T50" fmla="*/ 310 w 369"/>
                <a:gd name="T51" fmla="*/ 18 h 708"/>
                <a:gd name="T52" fmla="*/ 295 w 369"/>
                <a:gd name="T53" fmla="*/ 76 h 708"/>
                <a:gd name="T54" fmla="*/ 242 w 369"/>
                <a:gd name="T55" fmla="*/ 73 h 708"/>
                <a:gd name="T56" fmla="*/ 225 w 369"/>
                <a:gd name="T57" fmla="*/ 146 h 708"/>
                <a:gd name="T58" fmla="*/ 23 w 369"/>
                <a:gd name="T59" fmla="*/ 146 h 708"/>
                <a:gd name="T60" fmla="*/ 0 w 369"/>
                <a:gd name="T61" fmla="*/ 168 h 708"/>
                <a:gd name="T62" fmla="*/ 0 w 369"/>
                <a:gd name="T63" fmla="*/ 357 h 708"/>
                <a:gd name="T64" fmla="*/ 16 w 369"/>
                <a:gd name="T65" fmla="*/ 380 h 7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69" h="708">
                  <a:moveTo>
                    <a:pt x="16" y="380"/>
                  </a:moveTo>
                  <a:cubicBezTo>
                    <a:pt x="24" y="382"/>
                    <a:pt x="32" y="380"/>
                    <a:pt x="38" y="374"/>
                  </a:cubicBezTo>
                  <a:cubicBezTo>
                    <a:pt x="51" y="362"/>
                    <a:pt x="68" y="355"/>
                    <a:pt x="86" y="355"/>
                  </a:cubicBezTo>
                  <a:cubicBezTo>
                    <a:pt x="125" y="355"/>
                    <a:pt x="157" y="387"/>
                    <a:pt x="157" y="427"/>
                  </a:cubicBezTo>
                  <a:cubicBezTo>
                    <a:pt x="157" y="466"/>
                    <a:pt x="125" y="498"/>
                    <a:pt x="86" y="498"/>
                  </a:cubicBezTo>
                  <a:cubicBezTo>
                    <a:pt x="68" y="498"/>
                    <a:pt x="51" y="491"/>
                    <a:pt x="38" y="479"/>
                  </a:cubicBezTo>
                  <a:cubicBezTo>
                    <a:pt x="32" y="473"/>
                    <a:pt x="23" y="472"/>
                    <a:pt x="15" y="474"/>
                  </a:cubicBezTo>
                  <a:cubicBezTo>
                    <a:pt x="6" y="478"/>
                    <a:pt x="0" y="484"/>
                    <a:pt x="0" y="497"/>
                  </a:cubicBezTo>
                  <a:lnTo>
                    <a:pt x="0" y="685"/>
                  </a:lnTo>
                  <a:cubicBezTo>
                    <a:pt x="0" y="698"/>
                    <a:pt x="10" y="708"/>
                    <a:pt x="23" y="708"/>
                  </a:cubicBezTo>
                  <a:lnTo>
                    <a:pt x="301" y="708"/>
                  </a:lnTo>
                  <a:cubicBezTo>
                    <a:pt x="323" y="708"/>
                    <a:pt x="341" y="690"/>
                    <a:pt x="341" y="669"/>
                  </a:cubicBezTo>
                  <a:lnTo>
                    <a:pt x="341" y="304"/>
                  </a:lnTo>
                  <a:lnTo>
                    <a:pt x="295" y="341"/>
                  </a:lnTo>
                  <a:lnTo>
                    <a:pt x="295" y="662"/>
                  </a:lnTo>
                  <a:lnTo>
                    <a:pt x="45" y="662"/>
                  </a:lnTo>
                  <a:lnTo>
                    <a:pt x="45" y="536"/>
                  </a:lnTo>
                  <a:cubicBezTo>
                    <a:pt x="58" y="541"/>
                    <a:pt x="72" y="543"/>
                    <a:pt x="86" y="543"/>
                  </a:cubicBezTo>
                  <a:cubicBezTo>
                    <a:pt x="150" y="543"/>
                    <a:pt x="203" y="491"/>
                    <a:pt x="203" y="427"/>
                  </a:cubicBezTo>
                  <a:cubicBezTo>
                    <a:pt x="203" y="362"/>
                    <a:pt x="150" y="310"/>
                    <a:pt x="86" y="310"/>
                  </a:cubicBezTo>
                  <a:cubicBezTo>
                    <a:pt x="72" y="310"/>
                    <a:pt x="58" y="313"/>
                    <a:pt x="45" y="318"/>
                  </a:cubicBezTo>
                  <a:lnTo>
                    <a:pt x="45" y="191"/>
                  </a:lnTo>
                  <a:lnTo>
                    <a:pt x="196" y="191"/>
                  </a:lnTo>
                  <a:lnTo>
                    <a:pt x="283" y="116"/>
                  </a:lnTo>
                  <a:lnTo>
                    <a:pt x="369" y="27"/>
                  </a:lnTo>
                  <a:cubicBezTo>
                    <a:pt x="351" y="0"/>
                    <a:pt x="310" y="18"/>
                    <a:pt x="310" y="18"/>
                  </a:cubicBezTo>
                  <a:lnTo>
                    <a:pt x="295" y="76"/>
                  </a:lnTo>
                  <a:cubicBezTo>
                    <a:pt x="277" y="59"/>
                    <a:pt x="242" y="73"/>
                    <a:pt x="242" y="73"/>
                  </a:cubicBezTo>
                  <a:lnTo>
                    <a:pt x="225" y="146"/>
                  </a:lnTo>
                  <a:lnTo>
                    <a:pt x="23" y="146"/>
                  </a:lnTo>
                  <a:cubicBezTo>
                    <a:pt x="10" y="146"/>
                    <a:pt x="0" y="156"/>
                    <a:pt x="0" y="168"/>
                  </a:cubicBezTo>
                  <a:lnTo>
                    <a:pt x="0" y="357"/>
                  </a:lnTo>
                  <a:cubicBezTo>
                    <a:pt x="0" y="363"/>
                    <a:pt x="3" y="375"/>
                    <a:pt x="16" y="38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4" name="Freeform 177"/>
            <p:cNvSpPr>
              <a:spLocks/>
            </p:cNvSpPr>
            <p:nvPr/>
          </p:nvSpPr>
          <p:spPr bwMode="auto">
            <a:xfrm>
              <a:off x="6630988" y="1901825"/>
              <a:ext cx="350838" cy="342900"/>
            </a:xfrm>
            <a:custGeom>
              <a:avLst/>
              <a:gdLst>
                <a:gd name="T0" fmla="*/ 380 w 459"/>
                <a:gd name="T1" fmla="*/ 128 h 450"/>
                <a:gd name="T2" fmla="*/ 255 w 459"/>
                <a:gd name="T3" fmla="*/ 231 h 450"/>
                <a:gd name="T4" fmla="*/ 254 w 459"/>
                <a:gd name="T5" fmla="*/ 0 h 450"/>
                <a:gd name="T6" fmla="*/ 174 w 459"/>
                <a:gd name="T7" fmla="*/ 58 h 450"/>
                <a:gd name="T8" fmla="*/ 55 w 459"/>
                <a:gd name="T9" fmla="*/ 242 h 450"/>
                <a:gd name="T10" fmla="*/ 0 w 459"/>
                <a:gd name="T11" fmla="*/ 262 h 450"/>
                <a:gd name="T12" fmla="*/ 0 w 459"/>
                <a:gd name="T13" fmla="*/ 450 h 450"/>
                <a:gd name="T14" fmla="*/ 148 w 459"/>
                <a:gd name="T15" fmla="*/ 450 h 450"/>
                <a:gd name="T16" fmla="*/ 220 w 459"/>
                <a:gd name="T17" fmla="*/ 418 h 450"/>
                <a:gd name="T18" fmla="*/ 319 w 459"/>
                <a:gd name="T19" fmla="*/ 317 h 450"/>
                <a:gd name="T20" fmla="*/ 445 w 459"/>
                <a:gd name="T21" fmla="*/ 209 h 450"/>
                <a:gd name="T22" fmla="*/ 459 w 459"/>
                <a:gd name="T23" fmla="*/ 178 h 450"/>
                <a:gd name="T24" fmla="*/ 445 w 459"/>
                <a:gd name="T25" fmla="*/ 141 h 450"/>
                <a:gd name="T26" fmla="*/ 380 w 459"/>
                <a:gd name="T27" fmla="*/ 128 h 4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59" h="450">
                  <a:moveTo>
                    <a:pt x="380" y="128"/>
                  </a:moveTo>
                  <a:lnTo>
                    <a:pt x="255" y="231"/>
                  </a:lnTo>
                  <a:lnTo>
                    <a:pt x="254" y="0"/>
                  </a:lnTo>
                  <a:lnTo>
                    <a:pt x="174" y="58"/>
                  </a:lnTo>
                  <a:lnTo>
                    <a:pt x="55" y="242"/>
                  </a:lnTo>
                  <a:lnTo>
                    <a:pt x="0" y="262"/>
                  </a:lnTo>
                  <a:lnTo>
                    <a:pt x="0" y="450"/>
                  </a:lnTo>
                  <a:lnTo>
                    <a:pt x="148" y="450"/>
                  </a:lnTo>
                  <a:cubicBezTo>
                    <a:pt x="186" y="450"/>
                    <a:pt x="204" y="436"/>
                    <a:pt x="220" y="418"/>
                  </a:cubicBezTo>
                  <a:lnTo>
                    <a:pt x="319" y="317"/>
                  </a:lnTo>
                  <a:lnTo>
                    <a:pt x="445" y="209"/>
                  </a:lnTo>
                  <a:cubicBezTo>
                    <a:pt x="454" y="202"/>
                    <a:pt x="459" y="190"/>
                    <a:pt x="459" y="178"/>
                  </a:cubicBezTo>
                  <a:cubicBezTo>
                    <a:pt x="459" y="165"/>
                    <a:pt x="455" y="152"/>
                    <a:pt x="445" y="141"/>
                  </a:cubicBezTo>
                  <a:cubicBezTo>
                    <a:pt x="428" y="120"/>
                    <a:pt x="401" y="110"/>
                    <a:pt x="380" y="128"/>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5" name="Freeform 178"/>
            <p:cNvSpPr>
              <a:spLocks/>
            </p:cNvSpPr>
            <p:nvPr/>
          </p:nvSpPr>
          <p:spPr bwMode="auto">
            <a:xfrm>
              <a:off x="7331075" y="1611313"/>
              <a:ext cx="349250" cy="342900"/>
            </a:xfrm>
            <a:custGeom>
              <a:avLst/>
              <a:gdLst>
                <a:gd name="T0" fmla="*/ 80 w 460"/>
                <a:gd name="T1" fmla="*/ 322 h 450"/>
                <a:gd name="T2" fmla="*/ 205 w 460"/>
                <a:gd name="T3" fmla="*/ 218 h 450"/>
                <a:gd name="T4" fmla="*/ 205 w 460"/>
                <a:gd name="T5" fmla="*/ 450 h 450"/>
                <a:gd name="T6" fmla="*/ 285 w 460"/>
                <a:gd name="T7" fmla="*/ 391 h 450"/>
                <a:gd name="T8" fmla="*/ 405 w 460"/>
                <a:gd name="T9" fmla="*/ 208 h 450"/>
                <a:gd name="T10" fmla="*/ 459 w 460"/>
                <a:gd name="T11" fmla="*/ 188 h 450"/>
                <a:gd name="T12" fmla="*/ 460 w 460"/>
                <a:gd name="T13" fmla="*/ 0 h 450"/>
                <a:gd name="T14" fmla="*/ 312 w 460"/>
                <a:gd name="T15" fmla="*/ 0 h 450"/>
                <a:gd name="T16" fmla="*/ 239 w 460"/>
                <a:gd name="T17" fmla="*/ 31 h 450"/>
                <a:gd name="T18" fmla="*/ 141 w 460"/>
                <a:gd name="T19" fmla="*/ 133 h 450"/>
                <a:gd name="T20" fmla="*/ 15 w 460"/>
                <a:gd name="T21" fmla="*/ 240 h 450"/>
                <a:gd name="T22" fmla="*/ 0 w 460"/>
                <a:gd name="T23" fmla="*/ 272 h 450"/>
                <a:gd name="T24" fmla="*/ 14 w 460"/>
                <a:gd name="T25" fmla="*/ 309 h 450"/>
                <a:gd name="T26" fmla="*/ 80 w 460"/>
                <a:gd name="T27" fmla="*/ 322 h 4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60" h="450">
                  <a:moveTo>
                    <a:pt x="80" y="322"/>
                  </a:moveTo>
                  <a:lnTo>
                    <a:pt x="205" y="218"/>
                  </a:lnTo>
                  <a:lnTo>
                    <a:pt x="205" y="450"/>
                  </a:lnTo>
                  <a:lnTo>
                    <a:pt x="285" y="391"/>
                  </a:lnTo>
                  <a:lnTo>
                    <a:pt x="405" y="208"/>
                  </a:lnTo>
                  <a:lnTo>
                    <a:pt x="459" y="188"/>
                  </a:lnTo>
                  <a:lnTo>
                    <a:pt x="460" y="0"/>
                  </a:lnTo>
                  <a:lnTo>
                    <a:pt x="312" y="0"/>
                  </a:lnTo>
                  <a:cubicBezTo>
                    <a:pt x="275" y="0"/>
                    <a:pt x="255" y="14"/>
                    <a:pt x="239" y="31"/>
                  </a:cubicBezTo>
                  <a:lnTo>
                    <a:pt x="141" y="133"/>
                  </a:lnTo>
                  <a:lnTo>
                    <a:pt x="15" y="240"/>
                  </a:lnTo>
                  <a:cubicBezTo>
                    <a:pt x="5" y="248"/>
                    <a:pt x="0" y="259"/>
                    <a:pt x="0" y="272"/>
                  </a:cubicBezTo>
                  <a:cubicBezTo>
                    <a:pt x="0" y="285"/>
                    <a:pt x="5" y="298"/>
                    <a:pt x="14" y="309"/>
                  </a:cubicBezTo>
                  <a:cubicBezTo>
                    <a:pt x="42" y="341"/>
                    <a:pt x="67" y="332"/>
                    <a:pt x="80" y="322"/>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56" name="Solution" descr="{&quot;Key&quot;:&quot;POWER_USER_SHAPE_ICON&quot;,&quot;Value&quot;:&quot;POWER_USER_SHAPE_ICON_STYLE_1&quot;}"/>
          <p:cNvGrpSpPr>
            <a:grpSpLocks noChangeAspect="1"/>
          </p:cNvGrpSpPr>
          <p:nvPr>
            <p:custDataLst>
              <p:tags r:id="rId4"/>
            </p:custDataLst>
          </p:nvPr>
        </p:nvGrpSpPr>
        <p:grpSpPr>
          <a:xfrm>
            <a:off x="2413533" y="5946665"/>
            <a:ext cx="616010" cy="542925"/>
            <a:chOff x="2460626" y="3270250"/>
            <a:chExt cx="842962" cy="742951"/>
          </a:xfrm>
          <a:solidFill>
            <a:srgbClr val="2DA2BF"/>
          </a:solidFill>
        </p:grpSpPr>
        <p:sp>
          <p:nvSpPr>
            <p:cNvPr id="57" name="Freeform 129"/>
            <p:cNvSpPr>
              <a:spLocks/>
            </p:cNvSpPr>
            <p:nvPr/>
          </p:nvSpPr>
          <p:spPr bwMode="auto">
            <a:xfrm>
              <a:off x="2460626" y="3636963"/>
              <a:ext cx="476250" cy="376238"/>
            </a:xfrm>
            <a:custGeom>
              <a:avLst/>
              <a:gdLst>
                <a:gd name="T0" fmla="*/ 2 w 624"/>
                <a:gd name="T1" fmla="*/ 299 h 495"/>
                <a:gd name="T2" fmla="*/ 213 w 624"/>
                <a:gd name="T3" fmla="*/ 24 h 495"/>
                <a:gd name="T4" fmla="*/ 359 w 624"/>
                <a:gd name="T5" fmla="*/ 111 h 495"/>
                <a:gd name="T6" fmla="*/ 445 w 624"/>
                <a:gd name="T7" fmla="*/ 5 h 495"/>
                <a:gd name="T8" fmla="*/ 510 w 624"/>
                <a:gd name="T9" fmla="*/ 0 h 495"/>
                <a:gd name="T10" fmla="*/ 486 w 624"/>
                <a:gd name="T11" fmla="*/ 33 h 495"/>
                <a:gd name="T12" fmla="*/ 460 w 624"/>
                <a:gd name="T13" fmla="*/ 156 h 495"/>
                <a:gd name="T14" fmla="*/ 537 w 624"/>
                <a:gd name="T15" fmla="*/ 268 h 495"/>
                <a:gd name="T16" fmla="*/ 624 w 624"/>
                <a:gd name="T17" fmla="*/ 285 h 495"/>
                <a:gd name="T18" fmla="*/ 623 w 624"/>
                <a:gd name="T19" fmla="*/ 495 h 495"/>
                <a:gd name="T20" fmla="*/ 257 w 624"/>
                <a:gd name="T21" fmla="*/ 495 h 495"/>
                <a:gd name="T22" fmla="*/ 247 w 624"/>
                <a:gd name="T23" fmla="*/ 328 h 495"/>
                <a:gd name="T24" fmla="*/ 209 w 624"/>
                <a:gd name="T25" fmla="*/ 328 h 495"/>
                <a:gd name="T26" fmla="*/ 196 w 624"/>
                <a:gd name="T27" fmla="*/ 495 h 495"/>
                <a:gd name="T28" fmla="*/ 0 w 624"/>
                <a:gd name="T29" fmla="*/ 495 h 495"/>
                <a:gd name="T30" fmla="*/ 2 w 624"/>
                <a:gd name="T31" fmla="*/ 299 h 4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24" h="495">
                  <a:moveTo>
                    <a:pt x="2" y="299"/>
                  </a:moveTo>
                  <a:cubicBezTo>
                    <a:pt x="6" y="136"/>
                    <a:pt x="75" y="51"/>
                    <a:pt x="213" y="24"/>
                  </a:cubicBezTo>
                  <a:lnTo>
                    <a:pt x="359" y="111"/>
                  </a:lnTo>
                  <a:lnTo>
                    <a:pt x="445" y="5"/>
                  </a:lnTo>
                  <a:cubicBezTo>
                    <a:pt x="466" y="3"/>
                    <a:pt x="488" y="2"/>
                    <a:pt x="510" y="0"/>
                  </a:cubicBezTo>
                  <a:cubicBezTo>
                    <a:pt x="500" y="9"/>
                    <a:pt x="492" y="20"/>
                    <a:pt x="486" y="33"/>
                  </a:cubicBezTo>
                  <a:cubicBezTo>
                    <a:pt x="482" y="40"/>
                    <a:pt x="468" y="115"/>
                    <a:pt x="460" y="156"/>
                  </a:cubicBezTo>
                  <a:cubicBezTo>
                    <a:pt x="451" y="208"/>
                    <a:pt x="485" y="259"/>
                    <a:pt x="537" y="268"/>
                  </a:cubicBezTo>
                  <a:lnTo>
                    <a:pt x="624" y="285"/>
                  </a:lnTo>
                  <a:lnTo>
                    <a:pt x="623" y="495"/>
                  </a:lnTo>
                  <a:lnTo>
                    <a:pt x="257" y="495"/>
                  </a:lnTo>
                  <a:lnTo>
                    <a:pt x="247" y="328"/>
                  </a:lnTo>
                  <a:lnTo>
                    <a:pt x="209" y="328"/>
                  </a:lnTo>
                  <a:lnTo>
                    <a:pt x="196" y="495"/>
                  </a:lnTo>
                  <a:lnTo>
                    <a:pt x="0" y="495"/>
                  </a:lnTo>
                  <a:lnTo>
                    <a:pt x="2" y="299"/>
                  </a:ln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8" name="Freeform 130"/>
            <p:cNvSpPr>
              <a:spLocks/>
            </p:cNvSpPr>
            <p:nvPr/>
          </p:nvSpPr>
          <p:spPr bwMode="auto">
            <a:xfrm>
              <a:off x="3128963" y="3608388"/>
              <a:ext cx="174625" cy="196850"/>
            </a:xfrm>
            <a:custGeom>
              <a:avLst/>
              <a:gdLst>
                <a:gd name="T0" fmla="*/ 11 w 229"/>
                <a:gd name="T1" fmla="*/ 112 h 259"/>
                <a:gd name="T2" fmla="*/ 121 w 229"/>
                <a:gd name="T3" fmla="*/ 2 h 259"/>
                <a:gd name="T4" fmla="*/ 169 w 229"/>
                <a:gd name="T5" fmla="*/ 10 h 259"/>
                <a:gd name="T6" fmla="*/ 208 w 229"/>
                <a:gd name="T7" fmla="*/ 136 h 259"/>
                <a:gd name="T8" fmla="*/ 173 w 229"/>
                <a:gd name="T9" fmla="*/ 238 h 259"/>
                <a:gd name="T10" fmla="*/ 97 w 229"/>
                <a:gd name="T11" fmla="*/ 243 h 259"/>
                <a:gd name="T12" fmla="*/ 11 w 229"/>
                <a:gd name="T13" fmla="*/ 112 h 259"/>
              </a:gdLst>
              <a:ahLst/>
              <a:cxnLst>
                <a:cxn ang="0">
                  <a:pos x="T0" y="T1"/>
                </a:cxn>
                <a:cxn ang="0">
                  <a:pos x="T2" y="T3"/>
                </a:cxn>
                <a:cxn ang="0">
                  <a:pos x="T4" y="T5"/>
                </a:cxn>
                <a:cxn ang="0">
                  <a:pos x="T6" y="T7"/>
                </a:cxn>
                <a:cxn ang="0">
                  <a:pos x="T8" y="T9"/>
                </a:cxn>
                <a:cxn ang="0">
                  <a:pos x="T10" y="T11"/>
                </a:cxn>
                <a:cxn ang="0">
                  <a:pos x="T12" y="T13"/>
                </a:cxn>
              </a:cxnLst>
              <a:rect l="0" t="0" r="r" b="b"/>
              <a:pathLst>
                <a:path w="229" h="259">
                  <a:moveTo>
                    <a:pt x="11" y="112"/>
                  </a:moveTo>
                  <a:cubicBezTo>
                    <a:pt x="21" y="51"/>
                    <a:pt x="74" y="5"/>
                    <a:pt x="121" y="2"/>
                  </a:cubicBezTo>
                  <a:cubicBezTo>
                    <a:pt x="145" y="0"/>
                    <a:pt x="163" y="9"/>
                    <a:pt x="169" y="10"/>
                  </a:cubicBezTo>
                  <a:cubicBezTo>
                    <a:pt x="229" y="30"/>
                    <a:pt x="219" y="72"/>
                    <a:pt x="208" y="136"/>
                  </a:cubicBezTo>
                  <a:cubicBezTo>
                    <a:pt x="201" y="179"/>
                    <a:pt x="194" y="219"/>
                    <a:pt x="173" y="238"/>
                  </a:cubicBezTo>
                  <a:cubicBezTo>
                    <a:pt x="150" y="259"/>
                    <a:pt x="125" y="252"/>
                    <a:pt x="97" y="243"/>
                  </a:cubicBezTo>
                  <a:cubicBezTo>
                    <a:pt x="40" y="226"/>
                    <a:pt x="0" y="176"/>
                    <a:pt x="11" y="112"/>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9" name="Oval 131"/>
            <p:cNvSpPr>
              <a:spLocks noChangeArrowheads="1"/>
            </p:cNvSpPr>
            <p:nvPr/>
          </p:nvSpPr>
          <p:spPr bwMode="auto">
            <a:xfrm>
              <a:off x="2522538" y="3270250"/>
              <a:ext cx="341313" cy="334963"/>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0" name="Freeform 132"/>
            <p:cNvSpPr>
              <a:spLocks/>
            </p:cNvSpPr>
            <p:nvPr/>
          </p:nvSpPr>
          <p:spPr bwMode="auto">
            <a:xfrm>
              <a:off x="2841626" y="3340100"/>
              <a:ext cx="433388" cy="527050"/>
            </a:xfrm>
            <a:custGeom>
              <a:avLst/>
              <a:gdLst>
                <a:gd name="T0" fmla="*/ 271 w 569"/>
                <a:gd name="T1" fmla="*/ 112 h 691"/>
                <a:gd name="T2" fmla="*/ 274 w 569"/>
                <a:gd name="T3" fmla="*/ 151 h 691"/>
                <a:gd name="T4" fmla="*/ 278 w 569"/>
                <a:gd name="T5" fmla="*/ 181 h 691"/>
                <a:gd name="T6" fmla="*/ 241 w 569"/>
                <a:gd name="T7" fmla="*/ 205 h 691"/>
                <a:gd name="T8" fmla="*/ 123 w 569"/>
                <a:gd name="T9" fmla="*/ 183 h 691"/>
                <a:gd name="T10" fmla="*/ 105 w 569"/>
                <a:gd name="T11" fmla="*/ 282 h 691"/>
                <a:gd name="T12" fmla="*/ 164 w 569"/>
                <a:gd name="T13" fmla="*/ 277 h 691"/>
                <a:gd name="T14" fmla="*/ 234 w 569"/>
                <a:gd name="T15" fmla="*/ 323 h 691"/>
                <a:gd name="T16" fmla="*/ 251 w 569"/>
                <a:gd name="T17" fmla="*/ 405 h 691"/>
                <a:gd name="T18" fmla="*/ 144 w 569"/>
                <a:gd name="T19" fmla="*/ 494 h 691"/>
                <a:gd name="T20" fmla="*/ 70 w 569"/>
                <a:gd name="T21" fmla="*/ 466 h 691"/>
                <a:gd name="T22" fmla="*/ 51 w 569"/>
                <a:gd name="T23" fmla="*/ 565 h 691"/>
                <a:gd name="T24" fmla="*/ 442 w 569"/>
                <a:gd name="T25" fmla="*/ 639 h 691"/>
                <a:gd name="T26" fmla="*/ 493 w 569"/>
                <a:gd name="T27" fmla="*/ 653 h 691"/>
                <a:gd name="T28" fmla="*/ 428 w 569"/>
                <a:gd name="T29" fmla="*/ 684 h 691"/>
                <a:gd name="T30" fmla="*/ 46 w 569"/>
                <a:gd name="T31" fmla="*/ 613 h 691"/>
                <a:gd name="T32" fmla="*/ 5 w 569"/>
                <a:gd name="T33" fmla="*/ 553 h 691"/>
                <a:gd name="T34" fmla="*/ 27 w 569"/>
                <a:gd name="T35" fmla="*/ 441 h 691"/>
                <a:gd name="T36" fmla="*/ 73 w 569"/>
                <a:gd name="T37" fmla="*/ 414 h 691"/>
                <a:gd name="T38" fmla="*/ 102 w 569"/>
                <a:gd name="T39" fmla="*/ 430 h 691"/>
                <a:gd name="T40" fmla="*/ 143 w 569"/>
                <a:gd name="T41" fmla="*/ 447 h 691"/>
                <a:gd name="T42" fmla="*/ 204 w 569"/>
                <a:gd name="T43" fmla="*/ 396 h 691"/>
                <a:gd name="T44" fmla="*/ 195 w 569"/>
                <a:gd name="T45" fmla="*/ 350 h 691"/>
                <a:gd name="T46" fmla="*/ 143 w 569"/>
                <a:gd name="T47" fmla="*/ 323 h 691"/>
                <a:gd name="T48" fmla="*/ 122 w 569"/>
                <a:gd name="T49" fmla="*/ 326 h 691"/>
                <a:gd name="T50" fmla="*/ 88 w 569"/>
                <a:gd name="T51" fmla="*/ 332 h 691"/>
                <a:gd name="T52" fmla="*/ 55 w 569"/>
                <a:gd name="T53" fmla="*/ 290 h 691"/>
                <a:gd name="T54" fmla="*/ 76 w 569"/>
                <a:gd name="T55" fmla="*/ 178 h 691"/>
                <a:gd name="T56" fmla="*/ 136 w 569"/>
                <a:gd name="T57" fmla="*/ 137 h 691"/>
                <a:gd name="T58" fmla="*/ 225 w 569"/>
                <a:gd name="T59" fmla="*/ 154 h 691"/>
                <a:gd name="T60" fmla="*/ 224 w 569"/>
                <a:gd name="T61" fmla="*/ 103 h 691"/>
                <a:gd name="T62" fmla="*/ 361 w 569"/>
                <a:gd name="T63" fmla="*/ 10 h 691"/>
                <a:gd name="T64" fmla="*/ 455 w 569"/>
                <a:gd name="T65" fmla="*/ 147 h 691"/>
                <a:gd name="T66" fmla="*/ 435 w 569"/>
                <a:gd name="T67" fmla="*/ 193 h 691"/>
                <a:gd name="T68" fmla="*/ 525 w 569"/>
                <a:gd name="T69" fmla="*/ 210 h 691"/>
                <a:gd name="T70" fmla="*/ 558 w 569"/>
                <a:gd name="T71" fmla="*/ 232 h 691"/>
                <a:gd name="T72" fmla="*/ 566 w 569"/>
                <a:gd name="T73" fmla="*/ 270 h 691"/>
                <a:gd name="T74" fmla="*/ 559 w 569"/>
                <a:gd name="T75" fmla="*/ 310 h 691"/>
                <a:gd name="T76" fmla="*/ 512 w 569"/>
                <a:gd name="T77" fmla="*/ 300 h 691"/>
                <a:gd name="T78" fmla="*/ 520 w 569"/>
                <a:gd name="T79" fmla="*/ 258 h 691"/>
                <a:gd name="T80" fmla="*/ 400 w 569"/>
                <a:gd name="T81" fmla="*/ 235 h 691"/>
                <a:gd name="T82" fmla="*/ 375 w 569"/>
                <a:gd name="T83" fmla="*/ 201 h 691"/>
                <a:gd name="T84" fmla="*/ 391 w 569"/>
                <a:gd name="T85" fmla="*/ 174 h 691"/>
                <a:gd name="T86" fmla="*/ 409 w 569"/>
                <a:gd name="T87" fmla="*/ 138 h 691"/>
                <a:gd name="T88" fmla="*/ 352 w 569"/>
                <a:gd name="T89" fmla="*/ 57 h 691"/>
                <a:gd name="T90" fmla="*/ 271 w 569"/>
                <a:gd name="T91" fmla="*/ 112 h 6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69" h="691">
                  <a:moveTo>
                    <a:pt x="271" y="112"/>
                  </a:moveTo>
                  <a:cubicBezTo>
                    <a:pt x="266" y="132"/>
                    <a:pt x="270" y="142"/>
                    <a:pt x="274" y="151"/>
                  </a:cubicBezTo>
                  <a:cubicBezTo>
                    <a:pt x="279" y="162"/>
                    <a:pt x="280" y="172"/>
                    <a:pt x="278" y="181"/>
                  </a:cubicBezTo>
                  <a:cubicBezTo>
                    <a:pt x="275" y="200"/>
                    <a:pt x="258" y="209"/>
                    <a:pt x="241" y="205"/>
                  </a:cubicBezTo>
                  <a:lnTo>
                    <a:pt x="123" y="183"/>
                  </a:lnTo>
                  <a:lnTo>
                    <a:pt x="105" y="282"/>
                  </a:lnTo>
                  <a:cubicBezTo>
                    <a:pt x="125" y="275"/>
                    <a:pt x="145" y="274"/>
                    <a:pt x="164" y="277"/>
                  </a:cubicBezTo>
                  <a:cubicBezTo>
                    <a:pt x="193" y="283"/>
                    <a:pt x="218" y="299"/>
                    <a:pt x="234" y="323"/>
                  </a:cubicBezTo>
                  <a:cubicBezTo>
                    <a:pt x="250" y="347"/>
                    <a:pt x="256" y="376"/>
                    <a:pt x="251" y="405"/>
                  </a:cubicBezTo>
                  <a:cubicBezTo>
                    <a:pt x="241" y="457"/>
                    <a:pt x="196" y="494"/>
                    <a:pt x="144" y="494"/>
                  </a:cubicBezTo>
                  <a:cubicBezTo>
                    <a:pt x="117" y="494"/>
                    <a:pt x="90" y="482"/>
                    <a:pt x="70" y="466"/>
                  </a:cubicBezTo>
                  <a:lnTo>
                    <a:pt x="51" y="565"/>
                  </a:lnTo>
                  <a:lnTo>
                    <a:pt x="442" y="639"/>
                  </a:lnTo>
                  <a:lnTo>
                    <a:pt x="493" y="653"/>
                  </a:lnTo>
                  <a:cubicBezTo>
                    <a:pt x="485" y="676"/>
                    <a:pt x="464" y="691"/>
                    <a:pt x="428" y="684"/>
                  </a:cubicBezTo>
                  <a:lnTo>
                    <a:pt x="46" y="613"/>
                  </a:lnTo>
                  <a:cubicBezTo>
                    <a:pt x="18" y="607"/>
                    <a:pt x="0" y="580"/>
                    <a:pt x="5" y="553"/>
                  </a:cubicBezTo>
                  <a:lnTo>
                    <a:pt x="27" y="441"/>
                  </a:lnTo>
                  <a:cubicBezTo>
                    <a:pt x="32" y="420"/>
                    <a:pt x="60" y="411"/>
                    <a:pt x="73" y="414"/>
                  </a:cubicBezTo>
                  <a:cubicBezTo>
                    <a:pt x="85" y="416"/>
                    <a:pt x="92" y="420"/>
                    <a:pt x="102" y="430"/>
                  </a:cubicBezTo>
                  <a:cubicBezTo>
                    <a:pt x="113" y="442"/>
                    <a:pt x="131" y="447"/>
                    <a:pt x="143" y="447"/>
                  </a:cubicBezTo>
                  <a:cubicBezTo>
                    <a:pt x="173" y="446"/>
                    <a:pt x="199" y="425"/>
                    <a:pt x="204" y="396"/>
                  </a:cubicBezTo>
                  <a:cubicBezTo>
                    <a:pt x="207" y="380"/>
                    <a:pt x="204" y="364"/>
                    <a:pt x="195" y="350"/>
                  </a:cubicBezTo>
                  <a:cubicBezTo>
                    <a:pt x="184" y="333"/>
                    <a:pt x="164" y="323"/>
                    <a:pt x="143" y="323"/>
                  </a:cubicBezTo>
                  <a:cubicBezTo>
                    <a:pt x="135" y="323"/>
                    <a:pt x="128" y="324"/>
                    <a:pt x="122" y="326"/>
                  </a:cubicBezTo>
                  <a:cubicBezTo>
                    <a:pt x="105" y="333"/>
                    <a:pt x="96" y="333"/>
                    <a:pt x="88" y="332"/>
                  </a:cubicBezTo>
                  <a:cubicBezTo>
                    <a:pt x="67" y="329"/>
                    <a:pt x="53" y="308"/>
                    <a:pt x="55" y="290"/>
                  </a:cubicBezTo>
                  <a:lnTo>
                    <a:pt x="76" y="178"/>
                  </a:lnTo>
                  <a:cubicBezTo>
                    <a:pt x="82" y="145"/>
                    <a:pt x="113" y="133"/>
                    <a:pt x="136" y="137"/>
                  </a:cubicBezTo>
                  <a:lnTo>
                    <a:pt x="225" y="154"/>
                  </a:lnTo>
                  <a:cubicBezTo>
                    <a:pt x="222" y="139"/>
                    <a:pt x="220" y="120"/>
                    <a:pt x="224" y="103"/>
                  </a:cubicBezTo>
                  <a:cubicBezTo>
                    <a:pt x="241" y="25"/>
                    <a:pt x="312" y="0"/>
                    <a:pt x="361" y="10"/>
                  </a:cubicBezTo>
                  <a:cubicBezTo>
                    <a:pt x="425" y="23"/>
                    <a:pt x="467" y="84"/>
                    <a:pt x="455" y="147"/>
                  </a:cubicBezTo>
                  <a:cubicBezTo>
                    <a:pt x="453" y="161"/>
                    <a:pt x="445" y="178"/>
                    <a:pt x="435" y="193"/>
                  </a:cubicBezTo>
                  <a:lnTo>
                    <a:pt x="525" y="210"/>
                  </a:lnTo>
                  <a:cubicBezTo>
                    <a:pt x="539" y="213"/>
                    <a:pt x="550" y="220"/>
                    <a:pt x="558" y="232"/>
                  </a:cubicBezTo>
                  <a:cubicBezTo>
                    <a:pt x="566" y="243"/>
                    <a:pt x="569" y="257"/>
                    <a:pt x="566" y="270"/>
                  </a:cubicBezTo>
                  <a:lnTo>
                    <a:pt x="559" y="310"/>
                  </a:lnTo>
                  <a:cubicBezTo>
                    <a:pt x="548" y="306"/>
                    <a:pt x="530" y="301"/>
                    <a:pt x="512" y="300"/>
                  </a:cubicBezTo>
                  <a:lnTo>
                    <a:pt x="520" y="258"/>
                  </a:lnTo>
                  <a:lnTo>
                    <a:pt x="400" y="235"/>
                  </a:lnTo>
                  <a:cubicBezTo>
                    <a:pt x="385" y="232"/>
                    <a:pt x="372" y="220"/>
                    <a:pt x="375" y="201"/>
                  </a:cubicBezTo>
                  <a:cubicBezTo>
                    <a:pt x="377" y="193"/>
                    <a:pt x="382" y="183"/>
                    <a:pt x="391" y="174"/>
                  </a:cubicBezTo>
                  <a:cubicBezTo>
                    <a:pt x="397" y="164"/>
                    <a:pt x="406" y="153"/>
                    <a:pt x="409" y="138"/>
                  </a:cubicBezTo>
                  <a:cubicBezTo>
                    <a:pt x="416" y="101"/>
                    <a:pt x="391" y="66"/>
                    <a:pt x="352" y="57"/>
                  </a:cubicBezTo>
                  <a:cubicBezTo>
                    <a:pt x="330" y="51"/>
                    <a:pt x="282" y="60"/>
                    <a:pt x="271" y="112"/>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78" name="Group 77"/>
          <p:cNvGrpSpPr/>
          <p:nvPr/>
        </p:nvGrpSpPr>
        <p:grpSpPr>
          <a:xfrm>
            <a:off x="4291679" y="5946665"/>
            <a:ext cx="1467405" cy="542925"/>
            <a:chOff x="3591809" y="5900047"/>
            <a:chExt cx="1467405" cy="542925"/>
          </a:xfrm>
        </p:grpSpPr>
        <p:grpSp>
          <p:nvGrpSpPr>
            <p:cNvPr id="44" name="Problem_Based_Learning" descr="{&quot;Key&quot;:&quot;POWER_USER_SHAPE_ICON&quot;,&quot;Value&quot;:&quot;POWER_USER_SHAPE_ICON_STYLE_1&quot;}"/>
            <p:cNvGrpSpPr>
              <a:grpSpLocks noChangeAspect="1"/>
            </p:cNvGrpSpPr>
            <p:nvPr>
              <p:custDataLst>
                <p:tags r:id="rId5"/>
              </p:custDataLst>
            </p:nvPr>
          </p:nvGrpSpPr>
          <p:grpSpPr bwMode="auto">
            <a:xfrm>
              <a:off x="3591809" y="5900047"/>
              <a:ext cx="488747" cy="542925"/>
              <a:chOff x="7" y="8"/>
              <a:chExt cx="424" cy="471"/>
            </a:xfrm>
            <a:solidFill>
              <a:srgbClr val="2DA2BF"/>
            </a:solidFill>
          </p:grpSpPr>
          <p:sp>
            <p:nvSpPr>
              <p:cNvPr id="45" name="Problem_Based_Learning"/>
              <p:cNvSpPr>
                <a:spLocks/>
              </p:cNvSpPr>
              <p:nvPr>
                <p:custDataLst>
                  <p:tags r:id="rId20"/>
                </p:custDataLst>
              </p:nvPr>
            </p:nvSpPr>
            <p:spPr bwMode="auto">
              <a:xfrm>
                <a:off x="214" y="8"/>
                <a:ext cx="20" cy="69"/>
              </a:xfrm>
              <a:custGeom>
                <a:avLst/>
                <a:gdLst>
                  <a:gd name="T0" fmla="*/ 26 w 52"/>
                  <a:gd name="T1" fmla="*/ 183 h 183"/>
                  <a:gd name="T2" fmla="*/ 0 w 52"/>
                  <a:gd name="T3" fmla="*/ 156 h 183"/>
                  <a:gd name="T4" fmla="*/ 0 w 52"/>
                  <a:gd name="T5" fmla="*/ 26 h 183"/>
                  <a:gd name="T6" fmla="*/ 26 w 52"/>
                  <a:gd name="T7" fmla="*/ 0 h 183"/>
                  <a:gd name="T8" fmla="*/ 52 w 52"/>
                  <a:gd name="T9" fmla="*/ 26 h 183"/>
                  <a:gd name="T10" fmla="*/ 52 w 52"/>
                  <a:gd name="T11" fmla="*/ 156 h 183"/>
                  <a:gd name="T12" fmla="*/ 26 w 52"/>
                  <a:gd name="T13" fmla="*/ 183 h 183"/>
                </a:gdLst>
                <a:ahLst/>
                <a:cxnLst>
                  <a:cxn ang="0">
                    <a:pos x="T0" y="T1"/>
                  </a:cxn>
                  <a:cxn ang="0">
                    <a:pos x="T2" y="T3"/>
                  </a:cxn>
                  <a:cxn ang="0">
                    <a:pos x="T4" y="T5"/>
                  </a:cxn>
                  <a:cxn ang="0">
                    <a:pos x="T6" y="T7"/>
                  </a:cxn>
                  <a:cxn ang="0">
                    <a:pos x="T8" y="T9"/>
                  </a:cxn>
                  <a:cxn ang="0">
                    <a:pos x="T10" y="T11"/>
                  </a:cxn>
                  <a:cxn ang="0">
                    <a:pos x="T12" y="T13"/>
                  </a:cxn>
                </a:cxnLst>
                <a:rect l="0" t="0" r="r" b="b"/>
                <a:pathLst>
                  <a:path w="52" h="183">
                    <a:moveTo>
                      <a:pt x="26" y="183"/>
                    </a:moveTo>
                    <a:cubicBezTo>
                      <a:pt x="11" y="183"/>
                      <a:pt x="0" y="171"/>
                      <a:pt x="0" y="156"/>
                    </a:cubicBezTo>
                    <a:lnTo>
                      <a:pt x="0" y="26"/>
                    </a:lnTo>
                    <a:cubicBezTo>
                      <a:pt x="0" y="12"/>
                      <a:pt x="11" y="0"/>
                      <a:pt x="26" y="0"/>
                    </a:cubicBezTo>
                    <a:cubicBezTo>
                      <a:pt x="40" y="0"/>
                      <a:pt x="52" y="12"/>
                      <a:pt x="52" y="26"/>
                    </a:cubicBezTo>
                    <a:lnTo>
                      <a:pt x="52" y="156"/>
                    </a:lnTo>
                    <a:cubicBezTo>
                      <a:pt x="52" y="171"/>
                      <a:pt x="40" y="183"/>
                      <a:pt x="26" y="183"/>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6" name="Problem_Based_Learning"/>
              <p:cNvSpPr>
                <a:spLocks/>
              </p:cNvSpPr>
              <p:nvPr>
                <p:custDataLst>
                  <p:tags r:id="rId21"/>
                </p:custDataLst>
              </p:nvPr>
            </p:nvSpPr>
            <p:spPr bwMode="auto">
              <a:xfrm>
                <a:off x="301" y="46"/>
                <a:ext cx="51" cy="60"/>
              </a:xfrm>
              <a:custGeom>
                <a:avLst/>
                <a:gdLst>
                  <a:gd name="T0" fmla="*/ 29 w 137"/>
                  <a:gd name="T1" fmla="*/ 160 h 160"/>
                  <a:gd name="T2" fmla="*/ 14 w 137"/>
                  <a:gd name="T3" fmla="*/ 155 h 160"/>
                  <a:gd name="T4" fmla="*/ 9 w 137"/>
                  <a:gd name="T5" fmla="*/ 118 h 160"/>
                  <a:gd name="T6" fmla="*/ 87 w 137"/>
                  <a:gd name="T7" fmla="*/ 14 h 160"/>
                  <a:gd name="T8" fmla="*/ 123 w 137"/>
                  <a:gd name="T9" fmla="*/ 9 h 160"/>
                  <a:gd name="T10" fmla="*/ 128 w 137"/>
                  <a:gd name="T11" fmla="*/ 45 h 160"/>
                  <a:gd name="T12" fmla="*/ 50 w 137"/>
                  <a:gd name="T13" fmla="*/ 149 h 160"/>
                  <a:gd name="T14" fmla="*/ 29 w 137"/>
                  <a:gd name="T15" fmla="*/ 160 h 16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7" h="160">
                    <a:moveTo>
                      <a:pt x="29" y="160"/>
                    </a:moveTo>
                    <a:cubicBezTo>
                      <a:pt x="24" y="160"/>
                      <a:pt x="18" y="158"/>
                      <a:pt x="14" y="155"/>
                    </a:cubicBezTo>
                    <a:cubicBezTo>
                      <a:pt x="2" y="146"/>
                      <a:pt x="0" y="130"/>
                      <a:pt x="9" y="118"/>
                    </a:cubicBezTo>
                    <a:lnTo>
                      <a:pt x="87" y="14"/>
                    </a:lnTo>
                    <a:cubicBezTo>
                      <a:pt x="95" y="2"/>
                      <a:pt x="112" y="0"/>
                      <a:pt x="123" y="9"/>
                    </a:cubicBezTo>
                    <a:cubicBezTo>
                      <a:pt x="135" y="17"/>
                      <a:pt x="137" y="34"/>
                      <a:pt x="128" y="45"/>
                    </a:cubicBezTo>
                    <a:lnTo>
                      <a:pt x="50" y="149"/>
                    </a:lnTo>
                    <a:cubicBezTo>
                      <a:pt x="45" y="156"/>
                      <a:pt x="37" y="160"/>
                      <a:pt x="29" y="16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7" name="Problem_Based_Learning"/>
              <p:cNvSpPr>
                <a:spLocks/>
              </p:cNvSpPr>
              <p:nvPr>
                <p:custDataLst>
                  <p:tags r:id="rId22"/>
                </p:custDataLst>
              </p:nvPr>
            </p:nvSpPr>
            <p:spPr bwMode="auto">
              <a:xfrm>
                <a:off x="85" y="46"/>
                <a:ext cx="52" cy="60"/>
              </a:xfrm>
              <a:custGeom>
                <a:avLst/>
                <a:gdLst>
                  <a:gd name="T0" fmla="*/ 108 w 137"/>
                  <a:gd name="T1" fmla="*/ 160 h 160"/>
                  <a:gd name="T2" fmla="*/ 87 w 137"/>
                  <a:gd name="T3" fmla="*/ 149 h 160"/>
                  <a:gd name="T4" fmla="*/ 9 w 137"/>
                  <a:gd name="T5" fmla="*/ 45 h 160"/>
                  <a:gd name="T6" fmla="*/ 14 w 137"/>
                  <a:gd name="T7" fmla="*/ 9 h 160"/>
                  <a:gd name="T8" fmla="*/ 51 w 137"/>
                  <a:gd name="T9" fmla="*/ 14 h 160"/>
                  <a:gd name="T10" fmla="*/ 129 w 137"/>
                  <a:gd name="T11" fmla="*/ 118 h 160"/>
                  <a:gd name="T12" fmla="*/ 124 w 137"/>
                  <a:gd name="T13" fmla="*/ 155 h 160"/>
                  <a:gd name="T14" fmla="*/ 108 w 137"/>
                  <a:gd name="T15" fmla="*/ 160 h 16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7" h="160">
                    <a:moveTo>
                      <a:pt x="108" y="160"/>
                    </a:moveTo>
                    <a:cubicBezTo>
                      <a:pt x="100" y="160"/>
                      <a:pt x="92" y="156"/>
                      <a:pt x="87" y="149"/>
                    </a:cubicBezTo>
                    <a:lnTo>
                      <a:pt x="9" y="45"/>
                    </a:lnTo>
                    <a:cubicBezTo>
                      <a:pt x="0" y="34"/>
                      <a:pt x="3" y="17"/>
                      <a:pt x="14" y="9"/>
                    </a:cubicBezTo>
                    <a:cubicBezTo>
                      <a:pt x="26" y="0"/>
                      <a:pt x="42" y="2"/>
                      <a:pt x="51" y="14"/>
                    </a:cubicBezTo>
                    <a:lnTo>
                      <a:pt x="129" y="118"/>
                    </a:lnTo>
                    <a:cubicBezTo>
                      <a:pt x="137" y="130"/>
                      <a:pt x="135" y="146"/>
                      <a:pt x="124" y="155"/>
                    </a:cubicBezTo>
                    <a:cubicBezTo>
                      <a:pt x="119" y="158"/>
                      <a:pt x="113" y="160"/>
                      <a:pt x="108" y="16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8" name="Problem_Based_Learning"/>
              <p:cNvSpPr>
                <a:spLocks/>
              </p:cNvSpPr>
              <p:nvPr>
                <p:custDataLst>
                  <p:tags r:id="rId23"/>
                </p:custDataLst>
              </p:nvPr>
            </p:nvSpPr>
            <p:spPr bwMode="auto">
              <a:xfrm>
                <a:off x="7" y="134"/>
                <a:ext cx="61" cy="41"/>
              </a:xfrm>
              <a:custGeom>
                <a:avLst/>
                <a:gdLst>
                  <a:gd name="T0" fmla="*/ 134 w 164"/>
                  <a:gd name="T1" fmla="*/ 108 h 108"/>
                  <a:gd name="T2" fmla="*/ 123 w 164"/>
                  <a:gd name="T3" fmla="*/ 106 h 108"/>
                  <a:gd name="T4" fmla="*/ 18 w 164"/>
                  <a:gd name="T5" fmla="*/ 53 h 108"/>
                  <a:gd name="T6" fmla="*/ 7 w 164"/>
                  <a:gd name="T7" fmla="*/ 18 h 108"/>
                  <a:gd name="T8" fmla="*/ 42 w 164"/>
                  <a:gd name="T9" fmla="*/ 7 h 108"/>
                  <a:gd name="T10" fmla="*/ 146 w 164"/>
                  <a:gd name="T11" fmla="*/ 59 h 108"/>
                  <a:gd name="T12" fmla="*/ 158 w 164"/>
                  <a:gd name="T13" fmla="*/ 94 h 108"/>
                  <a:gd name="T14" fmla="*/ 134 w 164"/>
                  <a:gd name="T15" fmla="*/ 108 h 1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4" h="108">
                    <a:moveTo>
                      <a:pt x="134" y="108"/>
                    </a:moveTo>
                    <a:cubicBezTo>
                      <a:pt x="130" y="108"/>
                      <a:pt x="126" y="107"/>
                      <a:pt x="123" y="106"/>
                    </a:cubicBezTo>
                    <a:lnTo>
                      <a:pt x="18" y="53"/>
                    </a:lnTo>
                    <a:cubicBezTo>
                      <a:pt x="6" y="47"/>
                      <a:pt x="0" y="31"/>
                      <a:pt x="7" y="18"/>
                    </a:cubicBezTo>
                    <a:cubicBezTo>
                      <a:pt x="13" y="6"/>
                      <a:pt x="29" y="0"/>
                      <a:pt x="42" y="7"/>
                    </a:cubicBezTo>
                    <a:lnTo>
                      <a:pt x="146" y="59"/>
                    </a:lnTo>
                    <a:cubicBezTo>
                      <a:pt x="159" y="65"/>
                      <a:pt x="164" y="81"/>
                      <a:pt x="158" y="94"/>
                    </a:cubicBezTo>
                    <a:cubicBezTo>
                      <a:pt x="153" y="103"/>
                      <a:pt x="144" y="108"/>
                      <a:pt x="134" y="108"/>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9" name="Problem_Based_Learning"/>
              <p:cNvSpPr>
                <a:spLocks/>
              </p:cNvSpPr>
              <p:nvPr>
                <p:custDataLst>
                  <p:tags r:id="rId24"/>
                </p:custDataLst>
              </p:nvPr>
            </p:nvSpPr>
            <p:spPr bwMode="auto">
              <a:xfrm>
                <a:off x="369" y="134"/>
                <a:ext cx="62" cy="41"/>
              </a:xfrm>
              <a:custGeom>
                <a:avLst/>
                <a:gdLst>
                  <a:gd name="T0" fmla="*/ 30 w 164"/>
                  <a:gd name="T1" fmla="*/ 108 h 108"/>
                  <a:gd name="T2" fmla="*/ 7 w 164"/>
                  <a:gd name="T3" fmla="*/ 94 h 108"/>
                  <a:gd name="T4" fmla="*/ 18 w 164"/>
                  <a:gd name="T5" fmla="*/ 59 h 108"/>
                  <a:gd name="T6" fmla="*/ 123 w 164"/>
                  <a:gd name="T7" fmla="*/ 7 h 108"/>
                  <a:gd name="T8" fmla="*/ 158 w 164"/>
                  <a:gd name="T9" fmla="*/ 18 h 108"/>
                  <a:gd name="T10" fmla="*/ 146 w 164"/>
                  <a:gd name="T11" fmla="*/ 53 h 108"/>
                  <a:gd name="T12" fmla="*/ 42 w 164"/>
                  <a:gd name="T13" fmla="*/ 106 h 108"/>
                  <a:gd name="T14" fmla="*/ 30 w 164"/>
                  <a:gd name="T15" fmla="*/ 108 h 1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4" h="108">
                    <a:moveTo>
                      <a:pt x="30" y="108"/>
                    </a:moveTo>
                    <a:cubicBezTo>
                      <a:pt x="20" y="108"/>
                      <a:pt x="11" y="103"/>
                      <a:pt x="7" y="94"/>
                    </a:cubicBezTo>
                    <a:cubicBezTo>
                      <a:pt x="0" y="81"/>
                      <a:pt x="5" y="65"/>
                      <a:pt x="18" y="59"/>
                    </a:cubicBezTo>
                    <a:lnTo>
                      <a:pt x="123" y="7"/>
                    </a:lnTo>
                    <a:cubicBezTo>
                      <a:pt x="135" y="0"/>
                      <a:pt x="151" y="6"/>
                      <a:pt x="158" y="18"/>
                    </a:cubicBezTo>
                    <a:cubicBezTo>
                      <a:pt x="164" y="31"/>
                      <a:pt x="159" y="47"/>
                      <a:pt x="146" y="53"/>
                    </a:cubicBezTo>
                    <a:lnTo>
                      <a:pt x="42" y="106"/>
                    </a:lnTo>
                    <a:cubicBezTo>
                      <a:pt x="38" y="107"/>
                      <a:pt x="34" y="108"/>
                      <a:pt x="30" y="108"/>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0" name="Problem_Based_Learning"/>
              <p:cNvSpPr>
                <a:spLocks noEditPoints="1"/>
              </p:cNvSpPr>
              <p:nvPr>
                <p:custDataLst>
                  <p:tags r:id="rId25"/>
                </p:custDataLst>
              </p:nvPr>
            </p:nvSpPr>
            <p:spPr bwMode="auto">
              <a:xfrm>
                <a:off x="87" y="106"/>
                <a:ext cx="303" cy="373"/>
              </a:xfrm>
              <a:custGeom>
                <a:avLst/>
                <a:gdLst>
                  <a:gd name="T0" fmla="*/ 730 w 808"/>
                  <a:gd name="T1" fmla="*/ 391 h 989"/>
                  <a:gd name="T2" fmla="*/ 730 w 808"/>
                  <a:gd name="T3" fmla="*/ 365 h 989"/>
                  <a:gd name="T4" fmla="*/ 365 w 808"/>
                  <a:gd name="T5" fmla="*/ 0 h 989"/>
                  <a:gd name="T6" fmla="*/ 0 w 808"/>
                  <a:gd name="T7" fmla="*/ 365 h 989"/>
                  <a:gd name="T8" fmla="*/ 78 w 808"/>
                  <a:gd name="T9" fmla="*/ 590 h 989"/>
                  <a:gd name="T10" fmla="*/ 78 w 808"/>
                  <a:gd name="T11" fmla="*/ 989 h 989"/>
                  <a:gd name="T12" fmla="*/ 547 w 808"/>
                  <a:gd name="T13" fmla="*/ 989 h 989"/>
                  <a:gd name="T14" fmla="*/ 547 w 808"/>
                  <a:gd name="T15" fmla="*/ 860 h 989"/>
                  <a:gd name="T16" fmla="*/ 704 w 808"/>
                  <a:gd name="T17" fmla="*/ 704 h 989"/>
                  <a:gd name="T18" fmla="*/ 704 w 808"/>
                  <a:gd name="T19" fmla="*/ 626 h 989"/>
                  <a:gd name="T20" fmla="*/ 782 w 808"/>
                  <a:gd name="T21" fmla="*/ 626 h 989"/>
                  <a:gd name="T22" fmla="*/ 808 w 808"/>
                  <a:gd name="T23" fmla="*/ 600 h 989"/>
                  <a:gd name="T24" fmla="*/ 730 w 808"/>
                  <a:gd name="T25" fmla="*/ 391 h 989"/>
                  <a:gd name="T26" fmla="*/ 587 w 808"/>
                  <a:gd name="T27" fmla="*/ 387 h 989"/>
                  <a:gd name="T28" fmla="*/ 547 w 808"/>
                  <a:gd name="T29" fmla="*/ 365 h 989"/>
                  <a:gd name="T30" fmla="*/ 522 w 808"/>
                  <a:gd name="T31" fmla="*/ 385 h 989"/>
                  <a:gd name="T32" fmla="*/ 520 w 808"/>
                  <a:gd name="T33" fmla="*/ 474 h 989"/>
                  <a:gd name="T34" fmla="*/ 410 w 808"/>
                  <a:gd name="T35" fmla="*/ 473 h 989"/>
                  <a:gd name="T36" fmla="*/ 390 w 808"/>
                  <a:gd name="T37" fmla="*/ 449 h 989"/>
                  <a:gd name="T38" fmla="*/ 412 w 808"/>
                  <a:gd name="T39" fmla="*/ 409 h 989"/>
                  <a:gd name="T40" fmla="*/ 368 w 808"/>
                  <a:gd name="T41" fmla="*/ 364 h 989"/>
                  <a:gd name="T42" fmla="*/ 325 w 808"/>
                  <a:gd name="T43" fmla="*/ 409 h 989"/>
                  <a:gd name="T44" fmla="*/ 347 w 808"/>
                  <a:gd name="T45" fmla="*/ 449 h 989"/>
                  <a:gd name="T46" fmla="*/ 326 w 808"/>
                  <a:gd name="T47" fmla="*/ 473 h 989"/>
                  <a:gd name="T48" fmla="*/ 214 w 808"/>
                  <a:gd name="T49" fmla="*/ 474 h 989"/>
                  <a:gd name="T50" fmla="*/ 213 w 808"/>
                  <a:gd name="T51" fmla="*/ 385 h 989"/>
                  <a:gd name="T52" fmla="*/ 188 w 808"/>
                  <a:gd name="T53" fmla="*/ 365 h 989"/>
                  <a:gd name="T54" fmla="*/ 148 w 808"/>
                  <a:gd name="T55" fmla="*/ 387 h 989"/>
                  <a:gd name="T56" fmla="*/ 104 w 808"/>
                  <a:gd name="T57" fmla="*/ 344 h 989"/>
                  <a:gd name="T58" fmla="*/ 148 w 808"/>
                  <a:gd name="T59" fmla="*/ 300 h 989"/>
                  <a:gd name="T60" fmla="*/ 188 w 808"/>
                  <a:gd name="T61" fmla="*/ 322 h 989"/>
                  <a:gd name="T62" fmla="*/ 213 w 808"/>
                  <a:gd name="T63" fmla="*/ 302 h 989"/>
                  <a:gd name="T64" fmla="*/ 216 w 808"/>
                  <a:gd name="T65" fmla="*/ 213 h 989"/>
                  <a:gd name="T66" fmla="*/ 326 w 808"/>
                  <a:gd name="T67" fmla="*/ 203 h 989"/>
                  <a:gd name="T68" fmla="*/ 347 w 808"/>
                  <a:gd name="T69" fmla="*/ 227 h 989"/>
                  <a:gd name="T70" fmla="*/ 325 w 808"/>
                  <a:gd name="T71" fmla="*/ 267 h 989"/>
                  <a:gd name="T72" fmla="*/ 368 w 808"/>
                  <a:gd name="T73" fmla="*/ 312 h 989"/>
                  <a:gd name="T74" fmla="*/ 412 w 808"/>
                  <a:gd name="T75" fmla="*/ 267 h 989"/>
                  <a:gd name="T76" fmla="*/ 390 w 808"/>
                  <a:gd name="T77" fmla="*/ 227 h 989"/>
                  <a:gd name="T78" fmla="*/ 410 w 808"/>
                  <a:gd name="T79" fmla="*/ 203 h 989"/>
                  <a:gd name="T80" fmla="*/ 521 w 808"/>
                  <a:gd name="T81" fmla="*/ 213 h 989"/>
                  <a:gd name="T82" fmla="*/ 522 w 808"/>
                  <a:gd name="T83" fmla="*/ 302 h 989"/>
                  <a:gd name="T84" fmla="*/ 547 w 808"/>
                  <a:gd name="T85" fmla="*/ 322 h 989"/>
                  <a:gd name="T86" fmla="*/ 587 w 808"/>
                  <a:gd name="T87" fmla="*/ 300 h 989"/>
                  <a:gd name="T88" fmla="*/ 631 w 808"/>
                  <a:gd name="T89" fmla="*/ 344 h 989"/>
                  <a:gd name="T90" fmla="*/ 587 w 808"/>
                  <a:gd name="T91" fmla="*/ 387 h 9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8" h="989">
                    <a:moveTo>
                      <a:pt x="730" y="391"/>
                    </a:moveTo>
                    <a:lnTo>
                      <a:pt x="730" y="365"/>
                    </a:lnTo>
                    <a:cubicBezTo>
                      <a:pt x="730" y="163"/>
                      <a:pt x="566" y="0"/>
                      <a:pt x="365" y="0"/>
                    </a:cubicBezTo>
                    <a:cubicBezTo>
                      <a:pt x="163" y="0"/>
                      <a:pt x="0" y="163"/>
                      <a:pt x="0" y="365"/>
                    </a:cubicBezTo>
                    <a:cubicBezTo>
                      <a:pt x="0" y="450"/>
                      <a:pt x="29" y="528"/>
                      <a:pt x="78" y="590"/>
                    </a:cubicBezTo>
                    <a:lnTo>
                      <a:pt x="78" y="989"/>
                    </a:lnTo>
                    <a:lnTo>
                      <a:pt x="547" y="989"/>
                    </a:lnTo>
                    <a:lnTo>
                      <a:pt x="547" y="860"/>
                    </a:lnTo>
                    <a:cubicBezTo>
                      <a:pt x="634" y="860"/>
                      <a:pt x="704" y="790"/>
                      <a:pt x="704" y="704"/>
                    </a:cubicBezTo>
                    <a:lnTo>
                      <a:pt x="704" y="626"/>
                    </a:lnTo>
                    <a:lnTo>
                      <a:pt x="782" y="626"/>
                    </a:lnTo>
                    <a:cubicBezTo>
                      <a:pt x="796" y="626"/>
                      <a:pt x="808" y="614"/>
                      <a:pt x="808" y="600"/>
                    </a:cubicBezTo>
                    <a:cubicBezTo>
                      <a:pt x="808" y="593"/>
                      <a:pt x="730" y="391"/>
                      <a:pt x="730" y="391"/>
                    </a:cubicBezTo>
                    <a:close/>
                    <a:moveTo>
                      <a:pt x="587" y="387"/>
                    </a:moveTo>
                    <a:cubicBezTo>
                      <a:pt x="562" y="381"/>
                      <a:pt x="566" y="365"/>
                      <a:pt x="547" y="365"/>
                    </a:cubicBezTo>
                    <a:cubicBezTo>
                      <a:pt x="528" y="365"/>
                      <a:pt x="524" y="378"/>
                      <a:pt x="522" y="385"/>
                    </a:cubicBezTo>
                    <a:cubicBezTo>
                      <a:pt x="519" y="407"/>
                      <a:pt x="520" y="474"/>
                      <a:pt x="520" y="474"/>
                    </a:cubicBezTo>
                    <a:cubicBezTo>
                      <a:pt x="520" y="474"/>
                      <a:pt x="432" y="477"/>
                      <a:pt x="410" y="473"/>
                    </a:cubicBezTo>
                    <a:cubicBezTo>
                      <a:pt x="402" y="472"/>
                      <a:pt x="390" y="468"/>
                      <a:pt x="390" y="449"/>
                    </a:cubicBezTo>
                    <a:cubicBezTo>
                      <a:pt x="390" y="430"/>
                      <a:pt x="406" y="434"/>
                      <a:pt x="412" y="409"/>
                    </a:cubicBezTo>
                    <a:cubicBezTo>
                      <a:pt x="414" y="383"/>
                      <a:pt x="392" y="364"/>
                      <a:pt x="368" y="364"/>
                    </a:cubicBezTo>
                    <a:cubicBezTo>
                      <a:pt x="344" y="364"/>
                      <a:pt x="323" y="383"/>
                      <a:pt x="325" y="409"/>
                    </a:cubicBezTo>
                    <a:cubicBezTo>
                      <a:pt x="331" y="434"/>
                      <a:pt x="347" y="430"/>
                      <a:pt x="347" y="449"/>
                    </a:cubicBezTo>
                    <a:cubicBezTo>
                      <a:pt x="347" y="468"/>
                      <a:pt x="334" y="472"/>
                      <a:pt x="326" y="473"/>
                    </a:cubicBezTo>
                    <a:cubicBezTo>
                      <a:pt x="305" y="477"/>
                      <a:pt x="214" y="474"/>
                      <a:pt x="214" y="474"/>
                    </a:cubicBezTo>
                    <a:cubicBezTo>
                      <a:pt x="214" y="474"/>
                      <a:pt x="216" y="407"/>
                      <a:pt x="213" y="385"/>
                    </a:cubicBezTo>
                    <a:cubicBezTo>
                      <a:pt x="212" y="377"/>
                      <a:pt x="207" y="365"/>
                      <a:pt x="188" y="365"/>
                    </a:cubicBezTo>
                    <a:cubicBezTo>
                      <a:pt x="169" y="365"/>
                      <a:pt x="174" y="381"/>
                      <a:pt x="148" y="387"/>
                    </a:cubicBezTo>
                    <a:cubicBezTo>
                      <a:pt x="123" y="389"/>
                      <a:pt x="104" y="368"/>
                      <a:pt x="104" y="344"/>
                    </a:cubicBezTo>
                    <a:cubicBezTo>
                      <a:pt x="104" y="319"/>
                      <a:pt x="123" y="298"/>
                      <a:pt x="148" y="300"/>
                    </a:cubicBezTo>
                    <a:cubicBezTo>
                      <a:pt x="174" y="306"/>
                      <a:pt x="169" y="322"/>
                      <a:pt x="188" y="322"/>
                    </a:cubicBezTo>
                    <a:cubicBezTo>
                      <a:pt x="207" y="322"/>
                      <a:pt x="212" y="310"/>
                      <a:pt x="213" y="302"/>
                    </a:cubicBezTo>
                    <a:cubicBezTo>
                      <a:pt x="216" y="280"/>
                      <a:pt x="216" y="213"/>
                      <a:pt x="216" y="213"/>
                    </a:cubicBezTo>
                    <a:cubicBezTo>
                      <a:pt x="216" y="213"/>
                      <a:pt x="305" y="199"/>
                      <a:pt x="326" y="203"/>
                    </a:cubicBezTo>
                    <a:cubicBezTo>
                      <a:pt x="334" y="204"/>
                      <a:pt x="347" y="208"/>
                      <a:pt x="347" y="227"/>
                    </a:cubicBezTo>
                    <a:cubicBezTo>
                      <a:pt x="347" y="246"/>
                      <a:pt x="331" y="242"/>
                      <a:pt x="325" y="267"/>
                    </a:cubicBezTo>
                    <a:cubicBezTo>
                      <a:pt x="323" y="293"/>
                      <a:pt x="344" y="312"/>
                      <a:pt x="368" y="312"/>
                    </a:cubicBezTo>
                    <a:cubicBezTo>
                      <a:pt x="392" y="312"/>
                      <a:pt x="414" y="293"/>
                      <a:pt x="412" y="267"/>
                    </a:cubicBezTo>
                    <a:cubicBezTo>
                      <a:pt x="406" y="242"/>
                      <a:pt x="390" y="246"/>
                      <a:pt x="390" y="227"/>
                    </a:cubicBezTo>
                    <a:cubicBezTo>
                      <a:pt x="390" y="208"/>
                      <a:pt x="402" y="204"/>
                      <a:pt x="410" y="203"/>
                    </a:cubicBezTo>
                    <a:cubicBezTo>
                      <a:pt x="432" y="199"/>
                      <a:pt x="521" y="213"/>
                      <a:pt x="521" y="213"/>
                    </a:cubicBezTo>
                    <a:cubicBezTo>
                      <a:pt x="521" y="213"/>
                      <a:pt x="519" y="280"/>
                      <a:pt x="522" y="302"/>
                    </a:cubicBezTo>
                    <a:cubicBezTo>
                      <a:pt x="524" y="310"/>
                      <a:pt x="528" y="322"/>
                      <a:pt x="547" y="322"/>
                    </a:cubicBezTo>
                    <a:cubicBezTo>
                      <a:pt x="566" y="322"/>
                      <a:pt x="562" y="306"/>
                      <a:pt x="587" y="300"/>
                    </a:cubicBezTo>
                    <a:cubicBezTo>
                      <a:pt x="613" y="298"/>
                      <a:pt x="631" y="319"/>
                      <a:pt x="631" y="344"/>
                    </a:cubicBezTo>
                    <a:cubicBezTo>
                      <a:pt x="631" y="368"/>
                      <a:pt x="613" y="389"/>
                      <a:pt x="587" y="387"/>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61" name="Problem_Based_Learning - 2" descr="{&quot;Key&quot;:&quot;POWER_USER_SHAPE_ICON&quot;,&quot;Value&quot;:&quot;POWER_USER_SHAPE_ICON_STYLE_1&quot;}"/>
            <p:cNvGrpSpPr>
              <a:grpSpLocks noChangeAspect="1"/>
            </p:cNvGrpSpPr>
            <p:nvPr>
              <p:custDataLst>
                <p:tags r:id="rId6"/>
              </p:custDataLst>
            </p:nvPr>
          </p:nvGrpSpPr>
          <p:grpSpPr bwMode="auto">
            <a:xfrm>
              <a:off x="4081138" y="5900047"/>
              <a:ext cx="488747" cy="542925"/>
              <a:chOff x="7" y="8"/>
              <a:chExt cx="424" cy="471"/>
            </a:xfrm>
            <a:solidFill>
              <a:srgbClr val="2DA2BF"/>
            </a:solidFill>
          </p:grpSpPr>
          <p:sp>
            <p:nvSpPr>
              <p:cNvPr id="62" name="Problem_Based_Learning"/>
              <p:cNvSpPr>
                <a:spLocks/>
              </p:cNvSpPr>
              <p:nvPr>
                <p:custDataLst>
                  <p:tags r:id="rId14"/>
                </p:custDataLst>
              </p:nvPr>
            </p:nvSpPr>
            <p:spPr bwMode="auto">
              <a:xfrm>
                <a:off x="214" y="8"/>
                <a:ext cx="20" cy="69"/>
              </a:xfrm>
              <a:custGeom>
                <a:avLst/>
                <a:gdLst>
                  <a:gd name="T0" fmla="*/ 26 w 52"/>
                  <a:gd name="T1" fmla="*/ 183 h 183"/>
                  <a:gd name="T2" fmla="*/ 0 w 52"/>
                  <a:gd name="T3" fmla="*/ 156 h 183"/>
                  <a:gd name="T4" fmla="*/ 0 w 52"/>
                  <a:gd name="T5" fmla="*/ 26 h 183"/>
                  <a:gd name="T6" fmla="*/ 26 w 52"/>
                  <a:gd name="T7" fmla="*/ 0 h 183"/>
                  <a:gd name="T8" fmla="*/ 52 w 52"/>
                  <a:gd name="T9" fmla="*/ 26 h 183"/>
                  <a:gd name="T10" fmla="*/ 52 w 52"/>
                  <a:gd name="T11" fmla="*/ 156 h 183"/>
                  <a:gd name="T12" fmla="*/ 26 w 52"/>
                  <a:gd name="T13" fmla="*/ 183 h 183"/>
                </a:gdLst>
                <a:ahLst/>
                <a:cxnLst>
                  <a:cxn ang="0">
                    <a:pos x="T0" y="T1"/>
                  </a:cxn>
                  <a:cxn ang="0">
                    <a:pos x="T2" y="T3"/>
                  </a:cxn>
                  <a:cxn ang="0">
                    <a:pos x="T4" y="T5"/>
                  </a:cxn>
                  <a:cxn ang="0">
                    <a:pos x="T6" y="T7"/>
                  </a:cxn>
                  <a:cxn ang="0">
                    <a:pos x="T8" y="T9"/>
                  </a:cxn>
                  <a:cxn ang="0">
                    <a:pos x="T10" y="T11"/>
                  </a:cxn>
                  <a:cxn ang="0">
                    <a:pos x="T12" y="T13"/>
                  </a:cxn>
                </a:cxnLst>
                <a:rect l="0" t="0" r="r" b="b"/>
                <a:pathLst>
                  <a:path w="52" h="183">
                    <a:moveTo>
                      <a:pt x="26" y="183"/>
                    </a:moveTo>
                    <a:cubicBezTo>
                      <a:pt x="11" y="183"/>
                      <a:pt x="0" y="171"/>
                      <a:pt x="0" y="156"/>
                    </a:cubicBezTo>
                    <a:lnTo>
                      <a:pt x="0" y="26"/>
                    </a:lnTo>
                    <a:cubicBezTo>
                      <a:pt x="0" y="12"/>
                      <a:pt x="11" y="0"/>
                      <a:pt x="26" y="0"/>
                    </a:cubicBezTo>
                    <a:cubicBezTo>
                      <a:pt x="40" y="0"/>
                      <a:pt x="52" y="12"/>
                      <a:pt x="52" y="26"/>
                    </a:cubicBezTo>
                    <a:lnTo>
                      <a:pt x="52" y="156"/>
                    </a:lnTo>
                    <a:cubicBezTo>
                      <a:pt x="52" y="171"/>
                      <a:pt x="40" y="183"/>
                      <a:pt x="26" y="183"/>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3" name="Problem_Based_Learning"/>
              <p:cNvSpPr>
                <a:spLocks/>
              </p:cNvSpPr>
              <p:nvPr>
                <p:custDataLst>
                  <p:tags r:id="rId15"/>
                </p:custDataLst>
              </p:nvPr>
            </p:nvSpPr>
            <p:spPr bwMode="auto">
              <a:xfrm>
                <a:off x="301" y="46"/>
                <a:ext cx="51" cy="60"/>
              </a:xfrm>
              <a:custGeom>
                <a:avLst/>
                <a:gdLst>
                  <a:gd name="T0" fmla="*/ 29 w 137"/>
                  <a:gd name="T1" fmla="*/ 160 h 160"/>
                  <a:gd name="T2" fmla="*/ 14 w 137"/>
                  <a:gd name="T3" fmla="*/ 155 h 160"/>
                  <a:gd name="T4" fmla="*/ 9 w 137"/>
                  <a:gd name="T5" fmla="*/ 118 h 160"/>
                  <a:gd name="T6" fmla="*/ 87 w 137"/>
                  <a:gd name="T7" fmla="*/ 14 h 160"/>
                  <a:gd name="T8" fmla="*/ 123 w 137"/>
                  <a:gd name="T9" fmla="*/ 9 h 160"/>
                  <a:gd name="T10" fmla="*/ 128 w 137"/>
                  <a:gd name="T11" fmla="*/ 45 h 160"/>
                  <a:gd name="T12" fmla="*/ 50 w 137"/>
                  <a:gd name="T13" fmla="*/ 149 h 160"/>
                  <a:gd name="T14" fmla="*/ 29 w 137"/>
                  <a:gd name="T15" fmla="*/ 160 h 16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7" h="160">
                    <a:moveTo>
                      <a:pt x="29" y="160"/>
                    </a:moveTo>
                    <a:cubicBezTo>
                      <a:pt x="24" y="160"/>
                      <a:pt x="18" y="158"/>
                      <a:pt x="14" y="155"/>
                    </a:cubicBezTo>
                    <a:cubicBezTo>
                      <a:pt x="2" y="146"/>
                      <a:pt x="0" y="130"/>
                      <a:pt x="9" y="118"/>
                    </a:cubicBezTo>
                    <a:lnTo>
                      <a:pt x="87" y="14"/>
                    </a:lnTo>
                    <a:cubicBezTo>
                      <a:pt x="95" y="2"/>
                      <a:pt x="112" y="0"/>
                      <a:pt x="123" y="9"/>
                    </a:cubicBezTo>
                    <a:cubicBezTo>
                      <a:pt x="135" y="17"/>
                      <a:pt x="137" y="34"/>
                      <a:pt x="128" y="45"/>
                    </a:cubicBezTo>
                    <a:lnTo>
                      <a:pt x="50" y="149"/>
                    </a:lnTo>
                    <a:cubicBezTo>
                      <a:pt x="45" y="156"/>
                      <a:pt x="37" y="160"/>
                      <a:pt x="29" y="16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4" name="Problem_Based_Learning"/>
              <p:cNvSpPr>
                <a:spLocks/>
              </p:cNvSpPr>
              <p:nvPr>
                <p:custDataLst>
                  <p:tags r:id="rId16"/>
                </p:custDataLst>
              </p:nvPr>
            </p:nvSpPr>
            <p:spPr bwMode="auto">
              <a:xfrm>
                <a:off x="85" y="46"/>
                <a:ext cx="52" cy="60"/>
              </a:xfrm>
              <a:custGeom>
                <a:avLst/>
                <a:gdLst>
                  <a:gd name="T0" fmla="*/ 108 w 137"/>
                  <a:gd name="T1" fmla="*/ 160 h 160"/>
                  <a:gd name="T2" fmla="*/ 87 w 137"/>
                  <a:gd name="T3" fmla="*/ 149 h 160"/>
                  <a:gd name="T4" fmla="*/ 9 w 137"/>
                  <a:gd name="T5" fmla="*/ 45 h 160"/>
                  <a:gd name="T6" fmla="*/ 14 w 137"/>
                  <a:gd name="T7" fmla="*/ 9 h 160"/>
                  <a:gd name="T8" fmla="*/ 51 w 137"/>
                  <a:gd name="T9" fmla="*/ 14 h 160"/>
                  <a:gd name="T10" fmla="*/ 129 w 137"/>
                  <a:gd name="T11" fmla="*/ 118 h 160"/>
                  <a:gd name="T12" fmla="*/ 124 w 137"/>
                  <a:gd name="T13" fmla="*/ 155 h 160"/>
                  <a:gd name="T14" fmla="*/ 108 w 137"/>
                  <a:gd name="T15" fmla="*/ 160 h 16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7" h="160">
                    <a:moveTo>
                      <a:pt x="108" y="160"/>
                    </a:moveTo>
                    <a:cubicBezTo>
                      <a:pt x="100" y="160"/>
                      <a:pt x="92" y="156"/>
                      <a:pt x="87" y="149"/>
                    </a:cubicBezTo>
                    <a:lnTo>
                      <a:pt x="9" y="45"/>
                    </a:lnTo>
                    <a:cubicBezTo>
                      <a:pt x="0" y="34"/>
                      <a:pt x="3" y="17"/>
                      <a:pt x="14" y="9"/>
                    </a:cubicBezTo>
                    <a:cubicBezTo>
                      <a:pt x="26" y="0"/>
                      <a:pt x="42" y="2"/>
                      <a:pt x="51" y="14"/>
                    </a:cubicBezTo>
                    <a:lnTo>
                      <a:pt x="129" y="118"/>
                    </a:lnTo>
                    <a:cubicBezTo>
                      <a:pt x="137" y="130"/>
                      <a:pt x="135" y="146"/>
                      <a:pt x="124" y="155"/>
                    </a:cubicBezTo>
                    <a:cubicBezTo>
                      <a:pt x="119" y="158"/>
                      <a:pt x="113" y="160"/>
                      <a:pt x="108" y="16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5" name="Problem_Based_Learning"/>
              <p:cNvSpPr>
                <a:spLocks/>
              </p:cNvSpPr>
              <p:nvPr>
                <p:custDataLst>
                  <p:tags r:id="rId17"/>
                </p:custDataLst>
              </p:nvPr>
            </p:nvSpPr>
            <p:spPr bwMode="auto">
              <a:xfrm>
                <a:off x="7" y="134"/>
                <a:ext cx="61" cy="41"/>
              </a:xfrm>
              <a:custGeom>
                <a:avLst/>
                <a:gdLst>
                  <a:gd name="T0" fmla="*/ 134 w 164"/>
                  <a:gd name="T1" fmla="*/ 108 h 108"/>
                  <a:gd name="T2" fmla="*/ 123 w 164"/>
                  <a:gd name="T3" fmla="*/ 106 h 108"/>
                  <a:gd name="T4" fmla="*/ 18 w 164"/>
                  <a:gd name="T5" fmla="*/ 53 h 108"/>
                  <a:gd name="T6" fmla="*/ 7 w 164"/>
                  <a:gd name="T7" fmla="*/ 18 h 108"/>
                  <a:gd name="T8" fmla="*/ 42 w 164"/>
                  <a:gd name="T9" fmla="*/ 7 h 108"/>
                  <a:gd name="T10" fmla="*/ 146 w 164"/>
                  <a:gd name="T11" fmla="*/ 59 h 108"/>
                  <a:gd name="T12" fmla="*/ 158 w 164"/>
                  <a:gd name="T13" fmla="*/ 94 h 108"/>
                  <a:gd name="T14" fmla="*/ 134 w 164"/>
                  <a:gd name="T15" fmla="*/ 108 h 1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4" h="108">
                    <a:moveTo>
                      <a:pt x="134" y="108"/>
                    </a:moveTo>
                    <a:cubicBezTo>
                      <a:pt x="130" y="108"/>
                      <a:pt x="126" y="107"/>
                      <a:pt x="123" y="106"/>
                    </a:cubicBezTo>
                    <a:lnTo>
                      <a:pt x="18" y="53"/>
                    </a:lnTo>
                    <a:cubicBezTo>
                      <a:pt x="6" y="47"/>
                      <a:pt x="0" y="31"/>
                      <a:pt x="7" y="18"/>
                    </a:cubicBezTo>
                    <a:cubicBezTo>
                      <a:pt x="13" y="6"/>
                      <a:pt x="29" y="0"/>
                      <a:pt x="42" y="7"/>
                    </a:cubicBezTo>
                    <a:lnTo>
                      <a:pt x="146" y="59"/>
                    </a:lnTo>
                    <a:cubicBezTo>
                      <a:pt x="159" y="65"/>
                      <a:pt x="164" y="81"/>
                      <a:pt x="158" y="94"/>
                    </a:cubicBezTo>
                    <a:cubicBezTo>
                      <a:pt x="153" y="103"/>
                      <a:pt x="144" y="108"/>
                      <a:pt x="134" y="108"/>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6" name="Problem_Based_Learning"/>
              <p:cNvSpPr>
                <a:spLocks/>
              </p:cNvSpPr>
              <p:nvPr>
                <p:custDataLst>
                  <p:tags r:id="rId18"/>
                </p:custDataLst>
              </p:nvPr>
            </p:nvSpPr>
            <p:spPr bwMode="auto">
              <a:xfrm>
                <a:off x="369" y="134"/>
                <a:ext cx="62" cy="41"/>
              </a:xfrm>
              <a:custGeom>
                <a:avLst/>
                <a:gdLst>
                  <a:gd name="T0" fmla="*/ 30 w 164"/>
                  <a:gd name="T1" fmla="*/ 108 h 108"/>
                  <a:gd name="T2" fmla="*/ 7 w 164"/>
                  <a:gd name="T3" fmla="*/ 94 h 108"/>
                  <a:gd name="T4" fmla="*/ 18 w 164"/>
                  <a:gd name="T5" fmla="*/ 59 h 108"/>
                  <a:gd name="T6" fmla="*/ 123 w 164"/>
                  <a:gd name="T7" fmla="*/ 7 h 108"/>
                  <a:gd name="T8" fmla="*/ 158 w 164"/>
                  <a:gd name="T9" fmla="*/ 18 h 108"/>
                  <a:gd name="T10" fmla="*/ 146 w 164"/>
                  <a:gd name="T11" fmla="*/ 53 h 108"/>
                  <a:gd name="T12" fmla="*/ 42 w 164"/>
                  <a:gd name="T13" fmla="*/ 106 h 108"/>
                  <a:gd name="T14" fmla="*/ 30 w 164"/>
                  <a:gd name="T15" fmla="*/ 108 h 1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4" h="108">
                    <a:moveTo>
                      <a:pt x="30" y="108"/>
                    </a:moveTo>
                    <a:cubicBezTo>
                      <a:pt x="20" y="108"/>
                      <a:pt x="11" y="103"/>
                      <a:pt x="7" y="94"/>
                    </a:cubicBezTo>
                    <a:cubicBezTo>
                      <a:pt x="0" y="81"/>
                      <a:pt x="5" y="65"/>
                      <a:pt x="18" y="59"/>
                    </a:cubicBezTo>
                    <a:lnTo>
                      <a:pt x="123" y="7"/>
                    </a:lnTo>
                    <a:cubicBezTo>
                      <a:pt x="135" y="0"/>
                      <a:pt x="151" y="6"/>
                      <a:pt x="158" y="18"/>
                    </a:cubicBezTo>
                    <a:cubicBezTo>
                      <a:pt x="164" y="31"/>
                      <a:pt x="159" y="47"/>
                      <a:pt x="146" y="53"/>
                    </a:cubicBezTo>
                    <a:lnTo>
                      <a:pt x="42" y="106"/>
                    </a:lnTo>
                    <a:cubicBezTo>
                      <a:pt x="38" y="107"/>
                      <a:pt x="34" y="108"/>
                      <a:pt x="30" y="108"/>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7" name="Problem_Based_Learning"/>
              <p:cNvSpPr>
                <a:spLocks noEditPoints="1"/>
              </p:cNvSpPr>
              <p:nvPr>
                <p:custDataLst>
                  <p:tags r:id="rId19"/>
                </p:custDataLst>
              </p:nvPr>
            </p:nvSpPr>
            <p:spPr bwMode="auto">
              <a:xfrm>
                <a:off x="87" y="106"/>
                <a:ext cx="303" cy="373"/>
              </a:xfrm>
              <a:custGeom>
                <a:avLst/>
                <a:gdLst>
                  <a:gd name="T0" fmla="*/ 730 w 808"/>
                  <a:gd name="T1" fmla="*/ 391 h 989"/>
                  <a:gd name="T2" fmla="*/ 730 w 808"/>
                  <a:gd name="T3" fmla="*/ 365 h 989"/>
                  <a:gd name="T4" fmla="*/ 365 w 808"/>
                  <a:gd name="T5" fmla="*/ 0 h 989"/>
                  <a:gd name="T6" fmla="*/ 0 w 808"/>
                  <a:gd name="T7" fmla="*/ 365 h 989"/>
                  <a:gd name="T8" fmla="*/ 78 w 808"/>
                  <a:gd name="T9" fmla="*/ 590 h 989"/>
                  <a:gd name="T10" fmla="*/ 78 w 808"/>
                  <a:gd name="T11" fmla="*/ 989 h 989"/>
                  <a:gd name="T12" fmla="*/ 547 w 808"/>
                  <a:gd name="T13" fmla="*/ 989 h 989"/>
                  <a:gd name="T14" fmla="*/ 547 w 808"/>
                  <a:gd name="T15" fmla="*/ 860 h 989"/>
                  <a:gd name="T16" fmla="*/ 704 w 808"/>
                  <a:gd name="T17" fmla="*/ 704 h 989"/>
                  <a:gd name="T18" fmla="*/ 704 w 808"/>
                  <a:gd name="T19" fmla="*/ 626 h 989"/>
                  <a:gd name="T20" fmla="*/ 782 w 808"/>
                  <a:gd name="T21" fmla="*/ 626 h 989"/>
                  <a:gd name="T22" fmla="*/ 808 w 808"/>
                  <a:gd name="T23" fmla="*/ 600 h 989"/>
                  <a:gd name="T24" fmla="*/ 730 w 808"/>
                  <a:gd name="T25" fmla="*/ 391 h 989"/>
                  <a:gd name="T26" fmla="*/ 587 w 808"/>
                  <a:gd name="T27" fmla="*/ 387 h 989"/>
                  <a:gd name="T28" fmla="*/ 547 w 808"/>
                  <a:gd name="T29" fmla="*/ 365 h 989"/>
                  <a:gd name="T30" fmla="*/ 522 w 808"/>
                  <a:gd name="T31" fmla="*/ 385 h 989"/>
                  <a:gd name="T32" fmla="*/ 520 w 808"/>
                  <a:gd name="T33" fmla="*/ 474 h 989"/>
                  <a:gd name="T34" fmla="*/ 410 w 808"/>
                  <a:gd name="T35" fmla="*/ 473 h 989"/>
                  <a:gd name="T36" fmla="*/ 390 w 808"/>
                  <a:gd name="T37" fmla="*/ 449 h 989"/>
                  <a:gd name="T38" fmla="*/ 412 w 808"/>
                  <a:gd name="T39" fmla="*/ 409 h 989"/>
                  <a:gd name="T40" fmla="*/ 368 w 808"/>
                  <a:gd name="T41" fmla="*/ 364 h 989"/>
                  <a:gd name="T42" fmla="*/ 325 w 808"/>
                  <a:gd name="T43" fmla="*/ 409 h 989"/>
                  <a:gd name="T44" fmla="*/ 347 w 808"/>
                  <a:gd name="T45" fmla="*/ 449 h 989"/>
                  <a:gd name="T46" fmla="*/ 326 w 808"/>
                  <a:gd name="T47" fmla="*/ 473 h 989"/>
                  <a:gd name="T48" fmla="*/ 214 w 808"/>
                  <a:gd name="T49" fmla="*/ 474 h 989"/>
                  <a:gd name="T50" fmla="*/ 213 w 808"/>
                  <a:gd name="T51" fmla="*/ 385 h 989"/>
                  <a:gd name="T52" fmla="*/ 188 w 808"/>
                  <a:gd name="T53" fmla="*/ 365 h 989"/>
                  <a:gd name="T54" fmla="*/ 148 w 808"/>
                  <a:gd name="T55" fmla="*/ 387 h 989"/>
                  <a:gd name="T56" fmla="*/ 104 w 808"/>
                  <a:gd name="T57" fmla="*/ 344 h 989"/>
                  <a:gd name="T58" fmla="*/ 148 w 808"/>
                  <a:gd name="T59" fmla="*/ 300 h 989"/>
                  <a:gd name="T60" fmla="*/ 188 w 808"/>
                  <a:gd name="T61" fmla="*/ 322 h 989"/>
                  <a:gd name="T62" fmla="*/ 213 w 808"/>
                  <a:gd name="T63" fmla="*/ 302 h 989"/>
                  <a:gd name="T64" fmla="*/ 216 w 808"/>
                  <a:gd name="T65" fmla="*/ 213 h 989"/>
                  <a:gd name="T66" fmla="*/ 326 w 808"/>
                  <a:gd name="T67" fmla="*/ 203 h 989"/>
                  <a:gd name="T68" fmla="*/ 347 w 808"/>
                  <a:gd name="T69" fmla="*/ 227 h 989"/>
                  <a:gd name="T70" fmla="*/ 325 w 808"/>
                  <a:gd name="T71" fmla="*/ 267 h 989"/>
                  <a:gd name="T72" fmla="*/ 368 w 808"/>
                  <a:gd name="T73" fmla="*/ 312 h 989"/>
                  <a:gd name="T74" fmla="*/ 412 w 808"/>
                  <a:gd name="T75" fmla="*/ 267 h 989"/>
                  <a:gd name="T76" fmla="*/ 390 w 808"/>
                  <a:gd name="T77" fmla="*/ 227 h 989"/>
                  <a:gd name="T78" fmla="*/ 410 w 808"/>
                  <a:gd name="T79" fmla="*/ 203 h 989"/>
                  <a:gd name="T80" fmla="*/ 521 w 808"/>
                  <a:gd name="T81" fmla="*/ 213 h 989"/>
                  <a:gd name="T82" fmla="*/ 522 w 808"/>
                  <a:gd name="T83" fmla="*/ 302 h 989"/>
                  <a:gd name="T84" fmla="*/ 547 w 808"/>
                  <a:gd name="T85" fmla="*/ 322 h 989"/>
                  <a:gd name="T86" fmla="*/ 587 w 808"/>
                  <a:gd name="T87" fmla="*/ 300 h 989"/>
                  <a:gd name="T88" fmla="*/ 631 w 808"/>
                  <a:gd name="T89" fmla="*/ 344 h 989"/>
                  <a:gd name="T90" fmla="*/ 587 w 808"/>
                  <a:gd name="T91" fmla="*/ 387 h 9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8" h="989">
                    <a:moveTo>
                      <a:pt x="730" y="391"/>
                    </a:moveTo>
                    <a:lnTo>
                      <a:pt x="730" y="365"/>
                    </a:lnTo>
                    <a:cubicBezTo>
                      <a:pt x="730" y="163"/>
                      <a:pt x="566" y="0"/>
                      <a:pt x="365" y="0"/>
                    </a:cubicBezTo>
                    <a:cubicBezTo>
                      <a:pt x="163" y="0"/>
                      <a:pt x="0" y="163"/>
                      <a:pt x="0" y="365"/>
                    </a:cubicBezTo>
                    <a:cubicBezTo>
                      <a:pt x="0" y="450"/>
                      <a:pt x="29" y="528"/>
                      <a:pt x="78" y="590"/>
                    </a:cubicBezTo>
                    <a:lnTo>
                      <a:pt x="78" y="989"/>
                    </a:lnTo>
                    <a:lnTo>
                      <a:pt x="547" y="989"/>
                    </a:lnTo>
                    <a:lnTo>
                      <a:pt x="547" y="860"/>
                    </a:lnTo>
                    <a:cubicBezTo>
                      <a:pt x="634" y="860"/>
                      <a:pt x="704" y="790"/>
                      <a:pt x="704" y="704"/>
                    </a:cubicBezTo>
                    <a:lnTo>
                      <a:pt x="704" y="626"/>
                    </a:lnTo>
                    <a:lnTo>
                      <a:pt x="782" y="626"/>
                    </a:lnTo>
                    <a:cubicBezTo>
                      <a:pt x="796" y="626"/>
                      <a:pt x="808" y="614"/>
                      <a:pt x="808" y="600"/>
                    </a:cubicBezTo>
                    <a:cubicBezTo>
                      <a:pt x="808" y="593"/>
                      <a:pt x="730" y="391"/>
                      <a:pt x="730" y="391"/>
                    </a:cubicBezTo>
                    <a:close/>
                    <a:moveTo>
                      <a:pt x="587" y="387"/>
                    </a:moveTo>
                    <a:cubicBezTo>
                      <a:pt x="562" y="381"/>
                      <a:pt x="566" y="365"/>
                      <a:pt x="547" y="365"/>
                    </a:cubicBezTo>
                    <a:cubicBezTo>
                      <a:pt x="528" y="365"/>
                      <a:pt x="524" y="378"/>
                      <a:pt x="522" y="385"/>
                    </a:cubicBezTo>
                    <a:cubicBezTo>
                      <a:pt x="519" y="407"/>
                      <a:pt x="520" y="474"/>
                      <a:pt x="520" y="474"/>
                    </a:cubicBezTo>
                    <a:cubicBezTo>
                      <a:pt x="520" y="474"/>
                      <a:pt x="432" y="477"/>
                      <a:pt x="410" y="473"/>
                    </a:cubicBezTo>
                    <a:cubicBezTo>
                      <a:pt x="402" y="472"/>
                      <a:pt x="390" y="468"/>
                      <a:pt x="390" y="449"/>
                    </a:cubicBezTo>
                    <a:cubicBezTo>
                      <a:pt x="390" y="430"/>
                      <a:pt x="406" y="434"/>
                      <a:pt x="412" y="409"/>
                    </a:cubicBezTo>
                    <a:cubicBezTo>
                      <a:pt x="414" y="383"/>
                      <a:pt x="392" y="364"/>
                      <a:pt x="368" y="364"/>
                    </a:cubicBezTo>
                    <a:cubicBezTo>
                      <a:pt x="344" y="364"/>
                      <a:pt x="323" y="383"/>
                      <a:pt x="325" y="409"/>
                    </a:cubicBezTo>
                    <a:cubicBezTo>
                      <a:pt x="331" y="434"/>
                      <a:pt x="347" y="430"/>
                      <a:pt x="347" y="449"/>
                    </a:cubicBezTo>
                    <a:cubicBezTo>
                      <a:pt x="347" y="468"/>
                      <a:pt x="334" y="472"/>
                      <a:pt x="326" y="473"/>
                    </a:cubicBezTo>
                    <a:cubicBezTo>
                      <a:pt x="305" y="477"/>
                      <a:pt x="214" y="474"/>
                      <a:pt x="214" y="474"/>
                    </a:cubicBezTo>
                    <a:cubicBezTo>
                      <a:pt x="214" y="474"/>
                      <a:pt x="216" y="407"/>
                      <a:pt x="213" y="385"/>
                    </a:cubicBezTo>
                    <a:cubicBezTo>
                      <a:pt x="212" y="377"/>
                      <a:pt x="207" y="365"/>
                      <a:pt x="188" y="365"/>
                    </a:cubicBezTo>
                    <a:cubicBezTo>
                      <a:pt x="169" y="365"/>
                      <a:pt x="174" y="381"/>
                      <a:pt x="148" y="387"/>
                    </a:cubicBezTo>
                    <a:cubicBezTo>
                      <a:pt x="123" y="389"/>
                      <a:pt x="104" y="368"/>
                      <a:pt x="104" y="344"/>
                    </a:cubicBezTo>
                    <a:cubicBezTo>
                      <a:pt x="104" y="319"/>
                      <a:pt x="123" y="298"/>
                      <a:pt x="148" y="300"/>
                    </a:cubicBezTo>
                    <a:cubicBezTo>
                      <a:pt x="174" y="306"/>
                      <a:pt x="169" y="322"/>
                      <a:pt x="188" y="322"/>
                    </a:cubicBezTo>
                    <a:cubicBezTo>
                      <a:pt x="207" y="322"/>
                      <a:pt x="212" y="310"/>
                      <a:pt x="213" y="302"/>
                    </a:cubicBezTo>
                    <a:cubicBezTo>
                      <a:pt x="216" y="280"/>
                      <a:pt x="216" y="213"/>
                      <a:pt x="216" y="213"/>
                    </a:cubicBezTo>
                    <a:cubicBezTo>
                      <a:pt x="216" y="213"/>
                      <a:pt x="305" y="199"/>
                      <a:pt x="326" y="203"/>
                    </a:cubicBezTo>
                    <a:cubicBezTo>
                      <a:pt x="334" y="204"/>
                      <a:pt x="347" y="208"/>
                      <a:pt x="347" y="227"/>
                    </a:cubicBezTo>
                    <a:cubicBezTo>
                      <a:pt x="347" y="246"/>
                      <a:pt x="331" y="242"/>
                      <a:pt x="325" y="267"/>
                    </a:cubicBezTo>
                    <a:cubicBezTo>
                      <a:pt x="323" y="293"/>
                      <a:pt x="344" y="312"/>
                      <a:pt x="368" y="312"/>
                    </a:cubicBezTo>
                    <a:cubicBezTo>
                      <a:pt x="392" y="312"/>
                      <a:pt x="414" y="293"/>
                      <a:pt x="412" y="267"/>
                    </a:cubicBezTo>
                    <a:cubicBezTo>
                      <a:pt x="406" y="242"/>
                      <a:pt x="390" y="246"/>
                      <a:pt x="390" y="227"/>
                    </a:cubicBezTo>
                    <a:cubicBezTo>
                      <a:pt x="390" y="208"/>
                      <a:pt x="402" y="204"/>
                      <a:pt x="410" y="203"/>
                    </a:cubicBezTo>
                    <a:cubicBezTo>
                      <a:pt x="432" y="199"/>
                      <a:pt x="521" y="213"/>
                      <a:pt x="521" y="213"/>
                    </a:cubicBezTo>
                    <a:cubicBezTo>
                      <a:pt x="521" y="213"/>
                      <a:pt x="519" y="280"/>
                      <a:pt x="522" y="302"/>
                    </a:cubicBezTo>
                    <a:cubicBezTo>
                      <a:pt x="524" y="310"/>
                      <a:pt x="528" y="322"/>
                      <a:pt x="547" y="322"/>
                    </a:cubicBezTo>
                    <a:cubicBezTo>
                      <a:pt x="566" y="322"/>
                      <a:pt x="562" y="306"/>
                      <a:pt x="587" y="300"/>
                    </a:cubicBezTo>
                    <a:cubicBezTo>
                      <a:pt x="613" y="298"/>
                      <a:pt x="631" y="319"/>
                      <a:pt x="631" y="344"/>
                    </a:cubicBezTo>
                    <a:cubicBezTo>
                      <a:pt x="631" y="368"/>
                      <a:pt x="613" y="389"/>
                      <a:pt x="587" y="387"/>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68" name="Problem_Based_Learning - 1" descr="{&quot;Key&quot;:&quot;POWER_USER_SHAPE_ICON&quot;,&quot;Value&quot;:&quot;POWER_USER_SHAPE_ICON_STYLE_1&quot;}"/>
            <p:cNvGrpSpPr>
              <a:grpSpLocks noChangeAspect="1"/>
            </p:cNvGrpSpPr>
            <p:nvPr>
              <p:custDataLst>
                <p:tags r:id="rId7"/>
              </p:custDataLst>
            </p:nvPr>
          </p:nvGrpSpPr>
          <p:grpSpPr bwMode="auto">
            <a:xfrm>
              <a:off x="4570467" y="5900047"/>
              <a:ext cx="488747" cy="542925"/>
              <a:chOff x="7" y="8"/>
              <a:chExt cx="424" cy="471"/>
            </a:xfrm>
            <a:solidFill>
              <a:srgbClr val="2DA2BF"/>
            </a:solidFill>
          </p:grpSpPr>
          <p:sp>
            <p:nvSpPr>
              <p:cNvPr id="69" name="Problem_Based_Learning"/>
              <p:cNvSpPr>
                <a:spLocks/>
              </p:cNvSpPr>
              <p:nvPr>
                <p:custDataLst>
                  <p:tags r:id="rId8"/>
                </p:custDataLst>
              </p:nvPr>
            </p:nvSpPr>
            <p:spPr bwMode="auto">
              <a:xfrm>
                <a:off x="214" y="8"/>
                <a:ext cx="20" cy="69"/>
              </a:xfrm>
              <a:custGeom>
                <a:avLst/>
                <a:gdLst>
                  <a:gd name="T0" fmla="*/ 26 w 52"/>
                  <a:gd name="T1" fmla="*/ 183 h 183"/>
                  <a:gd name="T2" fmla="*/ 0 w 52"/>
                  <a:gd name="T3" fmla="*/ 156 h 183"/>
                  <a:gd name="T4" fmla="*/ 0 w 52"/>
                  <a:gd name="T5" fmla="*/ 26 h 183"/>
                  <a:gd name="T6" fmla="*/ 26 w 52"/>
                  <a:gd name="T7" fmla="*/ 0 h 183"/>
                  <a:gd name="T8" fmla="*/ 52 w 52"/>
                  <a:gd name="T9" fmla="*/ 26 h 183"/>
                  <a:gd name="T10" fmla="*/ 52 w 52"/>
                  <a:gd name="T11" fmla="*/ 156 h 183"/>
                  <a:gd name="T12" fmla="*/ 26 w 52"/>
                  <a:gd name="T13" fmla="*/ 183 h 183"/>
                </a:gdLst>
                <a:ahLst/>
                <a:cxnLst>
                  <a:cxn ang="0">
                    <a:pos x="T0" y="T1"/>
                  </a:cxn>
                  <a:cxn ang="0">
                    <a:pos x="T2" y="T3"/>
                  </a:cxn>
                  <a:cxn ang="0">
                    <a:pos x="T4" y="T5"/>
                  </a:cxn>
                  <a:cxn ang="0">
                    <a:pos x="T6" y="T7"/>
                  </a:cxn>
                  <a:cxn ang="0">
                    <a:pos x="T8" y="T9"/>
                  </a:cxn>
                  <a:cxn ang="0">
                    <a:pos x="T10" y="T11"/>
                  </a:cxn>
                  <a:cxn ang="0">
                    <a:pos x="T12" y="T13"/>
                  </a:cxn>
                </a:cxnLst>
                <a:rect l="0" t="0" r="r" b="b"/>
                <a:pathLst>
                  <a:path w="52" h="183">
                    <a:moveTo>
                      <a:pt x="26" y="183"/>
                    </a:moveTo>
                    <a:cubicBezTo>
                      <a:pt x="11" y="183"/>
                      <a:pt x="0" y="171"/>
                      <a:pt x="0" y="156"/>
                    </a:cubicBezTo>
                    <a:lnTo>
                      <a:pt x="0" y="26"/>
                    </a:lnTo>
                    <a:cubicBezTo>
                      <a:pt x="0" y="12"/>
                      <a:pt x="11" y="0"/>
                      <a:pt x="26" y="0"/>
                    </a:cubicBezTo>
                    <a:cubicBezTo>
                      <a:pt x="40" y="0"/>
                      <a:pt x="52" y="12"/>
                      <a:pt x="52" y="26"/>
                    </a:cubicBezTo>
                    <a:lnTo>
                      <a:pt x="52" y="156"/>
                    </a:lnTo>
                    <a:cubicBezTo>
                      <a:pt x="52" y="171"/>
                      <a:pt x="40" y="183"/>
                      <a:pt x="26" y="183"/>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0" name="Problem_Based_Learning"/>
              <p:cNvSpPr>
                <a:spLocks/>
              </p:cNvSpPr>
              <p:nvPr>
                <p:custDataLst>
                  <p:tags r:id="rId9"/>
                </p:custDataLst>
              </p:nvPr>
            </p:nvSpPr>
            <p:spPr bwMode="auto">
              <a:xfrm>
                <a:off x="301" y="46"/>
                <a:ext cx="51" cy="60"/>
              </a:xfrm>
              <a:custGeom>
                <a:avLst/>
                <a:gdLst>
                  <a:gd name="T0" fmla="*/ 29 w 137"/>
                  <a:gd name="T1" fmla="*/ 160 h 160"/>
                  <a:gd name="T2" fmla="*/ 14 w 137"/>
                  <a:gd name="T3" fmla="*/ 155 h 160"/>
                  <a:gd name="T4" fmla="*/ 9 w 137"/>
                  <a:gd name="T5" fmla="*/ 118 h 160"/>
                  <a:gd name="T6" fmla="*/ 87 w 137"/>
                  <a:gd name="T7" fmla="*/ 14 h 160"/>
                  <a:gd name="T8" fmla="*/ 123 w 137"/>
                  <a:gd name="T9" fmla="*/ 9 h 160"/>
                  <a:gd name="T10" fmla="*/ 128 w 137"/>
                  <a:gd name="T11" fmla="*/ 45 h 160"/>
                  <a:gd name="T12" fmla="*/ 50 w 137"/>
                  <a:gd name="T13" fmla="*/ 149 h 160"/>
                  <a:gd name="T14" fmla="*/ 29 w 137"/>
                  <a:gd name="T15" fmla="*/ 160 h 16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7" h="160">
                    <a:moveTo>
                      <a:pt x="29" y="160"/>
                    </a:moveTo>
                    <a:cubicBezTo>
                      <a:pt x="24" y="160"/>
                      <a:pt x="18" y="158"/>
                      <a:pt x="14" y="155"/>
                    </a:cubicBezTo>
                    <a:cubicBezTo>
                      <a:pt x="2" y="146"/>
                      <a:pt x="0" y="130"/>
                      <a:pt x="9" y="118"/>
                    </a:cubicBezTo>
                    <a:lnTo>
                      <a:pt x="87" y="14"/>
                    </a:lnTo>
                    <a:cubicBezTo>
                      <a:pt x="95" y="2"/>
                      <a:pt x="112" y="0"/>
                      <a:pt x="123" y="9"/>
                    </a:cubicBezTo>
                    <a:cubicBezTo>
                      <a:pt x="135" y="17"/>
                      <a:pt x="137" y="34"/>
                      <a:pt x="128" y="45"/>
                    </a:cubicBezTo>
                    <a:lnTo>
                      <a:pt x="50" y="149"/>
                    </a:lnTo>
                    <a:cubicBezTo>
                      <a:pt x="45" y="156"/>
                      <a:pt x="37" y="160"/>
                      <a:pt x="29" y="16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1" name="Problem_Based_Learning"/>
              <p:cNvSpPr>
                <a:spLocks/>
              </p:cNvSpPr>
              <p:nvPr>
                <p:custDataLst>
                  <p:tags r:id="rId10"/>
                </p:custDataLst>
              </p:nvPr>
            </p:nvSpPr>
            <p:spPr bwMode="auto">
              <a:xfrm>
                <a:off x="85" y="46"/>
                <a:ext cx="52" cy="60"/>
              </a:xfrm>
              <a:custGeom>
                <a:avLst/>
                <a:gdLst>
                  <a:gd name="T0" fmla="*/ 108 w 137"/>
                  <a:gd name="T1" fmla="*/ 160 h 160"/>
                  <a:gd name="T2" fmla="*/ 87 w 137"/>
                  <a:gd name="T3" fmla="*/ 149 h 160"/>
                  <a:gd name="T4" fmla="*/ 9 w 137"/>
                  <a:gd name="T5" fmla="*/ 45 h 160"/>
                  <a:gd name="T6" fmla="*/ 14 w 137"/>
                  <a:gd name="T7" fmla="*/ 9 h 160"/>
                  <a:gd name="T8" fmla="*/ 51 w 137"/>
                  <a:gd name="T9" fmla="*/ 14 h 160"/>
                  <a:gd name="T10" fmla="*/ 129 w 137"/>
                  <a:gd name="T11" fmla="*/ 118 h 160"/>
                  <a:gd name="T12" fmla="*/ 124 w 137"/>
                  <a:gd name="T13" fmla="*/ 155 h 160"/>
                  <a:gd name="T14" fmla="*/ 108 w 137"/>
                  <a:gd name="T15" fmla="*/ 160 h 16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7" h="160">
                    <a:moveTo>
                      <a:pt x="108" y="160"/>
                    </a:moveTo>
                    <a:cubicBezTo>
                      <a:pt x="100" y="160"/>
                      <a:pt x="92" y="156"/>
                      <a:pt x="87" y="149"/>
                    </a:cubicBezTo>
                    <a:lnTo>
                      <a:pt x="9" y="45"/>
                    </a:lnTo>
                    <a:cubicBezTo>
                      <a:pt x="0" y="34"/>
                      <a:pt x="3" y="17"/>
                      <a:pt x="14" y="9"/>
                    </a:cubicBezTo>
                    <a:cubicBezTo>
                      <a:pt x="26" y="0"/>
                      <a:pt x="42" y="2"/>
                      <a:pt x="51" y="14"/>
                    </a:cubicBezTo>
                    <a:lnTo>
                      <a:pt x="129" y="118"/>
                    </a:lnTo>
                    <a:cubicBezTo>
                      <a:pt x="137" y="130"/>
                      <a:pt x="135" y="146"/>
                      <a:pt x="124" y="155"/>
                    </a:cubicBezTo>
                    <a:cubicBezTo>
                      <a:pt x="119" y="158"/>
                      <a:pt x="113" y="160"/>
                      <a:pt x="108" y="16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2" name="Problem_Based_Learning"/>
              <p:cNvSpPr>
                <a:spLocks/>
              </p:cNvSpPr>
              <p:nvPr>
                <p:custDataLst>
                  <p:tags r:id="rId11"/>
                </p:custDataLst>
              </p:nvPr>
            </p:nvSpPr>
            <p:spPr bwMode="auto">
              <a:xfrm>
                <a:off x="7" y="134"/>
                <a:ext cx="61" cy="41"/>
              </a:xfrm>
              <a:custGeom>
                <a:avLst/>
                <a:gdLst>
                  <a:gd name="T0" fmla="*/ 134 w 164"/>
                  <a:gd name="T1" fmla="*/ 108 h 108"/>
                  <a:gd name="T2" fmla="*/ 123 w 164"/>
                  <a:gd name="T3" fmla="*/ 106 h 108"/>
                  <a:gd name="T4" fmla="*/ 18 w 164"/>
                  <a:gd name="T5" fmla="*/ 53 h 108"/>
                  <a:gd name="T6" fmla="*/ 7 w 164"/>
                  <a:gd name="T7" fmla="*/ 18 h 108"/>
                  <a:gd name="T8" fmla="*/ 42 w 164"/>
                  <a:gd name="T9" fmla="*/ 7 h 108"/>
                  <a:gd name="T10" fmla="*/ 146 w 164"/>
                  <a:gd name="T11" fmla="*/ 59 h 108"/>
                  <a:gd name="T12" fmla="*/ 158 w 164"/>
                  <a:gd name="T13" fmla="*/ 94 h 108"/>
                  <a:gd name="T14" fmla="*/ 134 w 164"/>
                  <a:gd name="T15" fmla="*/ 108 h 1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4" h="108">
                    <a:moveTo>
                      <a:pt x="134" y="108"/>
                    </a:moveTo>
                    <a:cubicBezTo>
                      <a:pt x="130" y="108"/>
                      <a:pt x="126" y="107"/>
                      <a:pt x="123" y="106"/>
                    </a:cubicBezTo>
                    <a:lnTo>
                      <a:pt x="18" y="53"/>
                    </a:lnTo>
                    <a:cubicBezTo>
                      <a:pt x="6" y="47"/>
                      <a:pt x="0" y="31"/>
                      <a:pt x="7" y="18"/>
                    </a:cubicBezTo>
                    <a:cubicBezTo>
                      <a:pt x="13" y="6"/>
                      <a:pt x="29" y="0"/>
                      <a:pt x="42" y="7"/>
                    </a:cubicBezTo>
                    <a:lnTo>
                      <a:pt x="146" y="59"/>
                    </a:lnTo>
                    <a:cubicBezTo>
                      <a:pt x="159" y="65"/>
                      <a:pt x="164" y="81"/>
                      <a:pt x="158" y="94"/>
                    </a:cubicBezTo>
                    <a:cubicBezTo>
                      <a:pt x="153" y="103"/>
                      <a:pt x="144" y="108"/>
                      <a:pt x="134" y="108"/>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3" name="Problem_Based_Learning"/>
              <p:cNvSpPr>
                <a:spLocks/>
              </p:cNvSpPr>
              <p:nvPr>
                <p:custDataLst>
                  <p:tags r:id="rId12"/>
                </p:custDataLst>
              </p:nvPr>
            </p:nvSpPr>
            <p:spPr bwMode="auto">
              <a:xfrm>
                <a:off x="369" y="134"/>
                <a:ext cx="62" cy="41"/>
              </a:xfrm>
              <a:custGeom>
                <a:avLst/>
                <a:gdLst>
                  <a:gd name="T0" fmla="*/ 30 w 164"/>
                  <a:gd name="T1" fmla="*/ 108 h 108"/>
                  <a:gd name="T2" fmla="*/ 7 w 164"/>
                  <a:gd name="T3" fmla="*/ 94 h 108"/>
                  <a:gd name="T4" fmla="*/ 18 w 164"/>
                  <a:gd name="T5" fmla="*/ 59 h 108"/>
                  <a:gd name="T6" fmla="*/ 123 w 164"/>
                  <a:gd name="T7" fmla="*/ 7 h 108"/>
                  <a:gd name="T8" fmla="*/ 158 w 164"/>
                  <a:gd name="T9" fmla="*/ 18 h 108"/>
                  <a:gd name="T10" fmla="*/ 146 w 164"/>
                  <a:gd name="T11" fmla="*/ 53 h 108"/>
                  <a:gd name="T12" fmla="*/ 42 w 164"/>
                  <a:gd name="T13" fmla="*/ 106 h 108"/>
                  <a:gd name="T14" fmla="*/ 30 w 164"/>
                  <a:gd name="T15" fmla="*/ 108 h 1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4" h="108">
                    <a:moveTo>
                      <a:pt x="30" y="108"/>
                    </a:moveTo>
                    <a:cubicBezTo>
                      <a:pt x="20" y="108"/>
                      <a:pt x="11" y="103"/>
                      <a:pt x="7" y="94"/>
                    </a:cubicBezTo>
                    <a:cubicBezTo>
                      <a:pt x="0" y="81"/>
                      <a:pt x="5" y="65"/>
                      <a:pt x="18" y="59"/>
                    </a:cubicBezTo>
                    <a:lnTo>
                      <a:pt x="123" y="7"/>
                    </a:lnTo>
                    <a:cubicBezTo>
                      <a:pt x="135" y="0"/>
                      <a:pt x="151" y="6"/>
                      <a:pt x="158" y="18"/>
                    </a:cubicBezTo>
                    <a:cubicBezTo>
                      <a:pt x="164" y="31"/>
                      <a:pt x="159" y="47"/>
                      <a:pt x="146" y="53"/>
                    </a:cubicBezTo>
                    <a:lnTo>
                      <a:pt x="42" y="106"/>
                    </a:lnTo>
                    <a:cubicBezTo>
                      <a:pt x="38" y="107"/>
                      <a:pt x="34" y="108"/>
                      <a:pt x="30" y="108"/>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4" name="Problem_Based_Learning"/>
              <p:cNvSpPr>
                <a:spLocks noEditPoints="1"/>
              </p:cNvSpPr>
              <p:nvPr>
                <p:custDataLst>
                  <p:tags r:id="rId13"/>
                </p:custDataLst>
              </p:nvPr>
            </p:nvSpPr>
            <p:spPr bwMode="auto">
              <a:xfrm>
                <a:off x="87" y="106"/>
                <a:ext cx="303" cy="373"/>
              </a:xfrm>
              <a:custGeom>
                <a:avLst/>
                <a:gdLst>
                  <a:gd name="T0" fmla="*/ 730 w 808"/>
                  <a:gd name="T1" fmla="*/ 391 h 989"/>
                  <a:gd name="T2" fmla="*/ 730 w 808"/>
                  <a:gd name="T3" fmla="*/ 365 h 989"/>
                  <a:gd name="T4" fmla="*/ 365 w 808"/>
                  <a:gd name="T5" fmla="*/ 0 h 989"/>
                  <a:gd name="T6" fmla="*/ 0 w 808"/>
                  <a:gd name="T7" fmla="*/ 365 h 989"/>
                  <a:gd name="T8" fmla="*/ 78 w 808"/>
                  <a:gd name="T9" fmla="*/ 590 h 989"/>
                  <a:gd name="T10" fmla="*/ 78 w 808"/>
                  <a:gd name="T11" fmla="*/ 989 h 989"/>
                  <a:gd name="T12" fmla="*/ 547 w 808"/>
                  <a:gd name="T13" fmla="*/ 989 h 989"/>
                  <a:gd name="T14" fmla="*/ 547 w 808"/>
                  <a:gd name="T15" fmla="*/ 860 h 989"/>
                  <a:gd name="T16" fmla="*/ 704 w 808"/>
                  <a:gd name="T17" fmla="*/ 704 h 989"/>
                  <a:gd name="T18" fmla="*/ 704 w 808"/>
                  <a:gd name="T19" fmla="*/ 626 h 989"/>
                  <a:gd name="T20" fmla="*/ 782 w 808"/>
                  <a:gd name="T21" fmla="*/ 626 h 989"/>
                  <a:gd name="T22" fmla="*/ 808 w 808"/>
                  <a:gd name="T23" fmla="*/ 600 h 989"/>
                  <a:gd name="T24" fmla="*/ 730 w 808"/>
                  <a:gd name="T25" fmla="*/ 391 h 989"/>
                  <a:gd name="T26" fmla="*/ 587 w 808"/>
                  <a:gd name="T27" fmla="*/ 387 h 989"/>
                  <a:gd name="T28" fmla="*/ 547 w 808"/>
                  <a:gd name="T29" fmla="*/ 365 h 989"/>
                  <a:gd name="T30" fmla="*/ 522 w 808"/>
                  <a:gd name="T31" fmla="*/ 385 h 989"/>
                  <a:gd name="T32" fmla="*/ 520 w 808"/>
                  <a:gd name="T33" fmla="*/ 474 h 989"/>
                  <a:gd name="T34" fmla="*/ 410 w 808"/>
                  <a:gd name="T35" fmla="*/ 473 h 989"/>
                  <a:gd name="T36" fmla="*/ 390 w 808"/>
                  <a:gd name="T37" fmla="*/ 449 h 989"/>
                  <a:gd name="T38" fmla="*/ 412 w 808"/>
                  <a:gd name="T39" fmla="*/ 409 h 989"/>
                  <a:gd name="T40" fmla="*/ 368 w 808"/>
                  <a:gd name="T41" fmla="*/ 364 h 989"/>
                  <a:gd name="T42" fmla="*/ 325 w 808"/>
                  <a:gd name="T43" fmla="*/ 409 h 989"/>
                  <a:gd name="T44" fmla="*/ 347 w 808"/>
                  <a:gd name="T45" fmla="*/ 449 h 989"/>
                  <a:gd name="T46" fmla="*/ 326 w 808"/>
                  <a:gd name="T47" fmla="*/ 473 h 989"/>
                  <a:gd name="T48" fmla="*/ 214 w 808"/>
                  <a:gd name="T49" fmla="*/ 474 h 989"/>
                  <a:gd name="T50" fmla="*/ 213 w 808"/>
                  <a:gd name="T51" fmla="*/ 385 h 989"/>
                  <a:gd name="T52" fmla="*/ 188 w 808"/>
                  <a:gd name="T53" fmla="*/ 365 h 989"/>
                  <a:gd name="T54" fmla="*/ 148 w 808"/>
                  <a:gd name="T55" fmla="*/ 387 h 989"/>
                  <a:gd name="T56" fmla="*/ 104 w 808"/>
                  <a:gd name="T57" fmla="*/ 344 h 989"/>
                  <a:gd name="T58" fmla="*/ 148 w 808"/>
                  <a:gd name="T59" fmla="*/ 300 h 989"/>
                  <a:gd name="T60" fmla="*/ 188 w 808"/>
                  <a:gd name="T61" fmla="*/ 322 h 989"/>
                  <a:gd name="T62" fmla="*/ 213 w 808"/>
                  <a:gd name="T63" fmla="*/ 302 h 989"/>
                  <a:gd name="T64" fmla="*/ 216 w 808"/>
                  <a:gd name="T65" fmla="*/ 213 h 989"/>
                  <a:gd name="T66" fmla="*/ 326 w 808"/>
                  <a:gd name="T67" fmla="*/ 203 h 989"/>
                  <a:gd name="T68" fmla="*/ 347 w 808"/>
                  <a:gd name="T69" fmla="*/ 227 h 989"/>
                  <a:gd name="T70" fmla="*/ 325 w 808"/>
                  <a:gd name="T71" fmla="*/ 267 h 989"/>
                  <a:gd name="T72" fmla="*/ 368 w 808"/>
                  <a:gd name="T73" fmla="*/ 312 h 989"/>
                  <a:gd name="T74" fmla="*/ 412 w 808"/>
                  <a:gd name="T75" fmla="*/ 267 h 989"/>
                  <a:gd name="T76" fmla="*/ 390 w 808"/>
                  <a:gd name="T77" fmla="*/ 227 h 989"/>
                  <a:gd name="T78" fmla="*/ 410 w 808"/>
                  <a:gd name="T79" fmla="*/ 203 h 989"/>
                  <a:gd name="T80" fmla="*/ 521 w 808"/>
                  <a:gd name="T81" fmla="*/ 213 h 989"/>
                  <a:gd name="T82" fmla="*/ 522 w 808"/>
                  <a:gd name="T83" fmla="*/ 302 h 989"/>
                  <a:gd name="T84" fmla="*/ 547 w 808"/>
                  <a:gd name="T85" fmla="*/ 322 h 989"/>
                  <a:gd name="T86" fmla="*/ 587 w 808"/>
                  <a:gd name="T87" fmla="*/ 300 h 989"/>
                  <a:gd name="T88" fmla="*/ 631 w 808"/>
                  <a:gd name="T89" fmla="*/ 344 h 989"/>
                  <a:gd name="T90" fmla="*/ 587 w 808"/>
                  <a:gd name="T91" fmla="*/ 387 h 9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8" h="989">
                    <a:moveTo>
                      <a:pt x="730" y="391"/>
                    </a:moveTo>
                    <a:lnTo>
                      <a:pt x="730" y="365"/>
                    </a:lnTo>
                    <a:cubicBezTo>
                      <a:pt x="730" y="163"/>
                      <a:pt x="566" y="0"/>
                      <a:pt x="365" y="0"/>
                    </a:cubicBezTo>
                    <a:cubicBezTo>
                      <a:pt x="163" y="0"/>
                      <a:pt x="0" y="163"/>
                      <a:pt x="0" y="365"/>
                    </a:cubicBezTo>
                    <a:cubicBezTo>
                      <a:pt x="0" y="450"/>
                      <a:pt x="29" y="528"/>
                      <a:pt x="78" y="590"/>
                    </a:cubicBezTo>
                    <a:lnTo>
                      <a:pt x="78" y="989"/>
                    </a:lnTo>
                    <a:lnTo>
                      <a:pt x="547" y="989"/>
                    </a:lnTo>
                    <a:lnTo>
                      <a:pt x="547" y="860"/>
                    </a:lnTo>
                    <a:cubicBezTo>
                      <a:pt x="634" y="860"/>
                      <a:pt x="704" y="790"/>
                      <a:pt x="704" y="704"/>
                    </a:cubicBezTo>
                    <a:lnTo>
                      <a:pt x="704" y="626"/>
                    </a:lnTo>
                    <a:lnTo>
                      <a:pt x="782" y="626"/>
                    </a:lnTo>
                    <a:cubicBezTo>
                      <a:pt x="796" y="626"/>
                      <a:pt x="808" y="614"/>
                      <a:pt x="808" y="600"/>
                    </a:cubicBezTo>
                    <a:cubicBezTo>
                      <a:pt x="808" y="593"/>
                      <a:pt x="730" y="391"/>
                      <a:pt x="730" y="391"/>
                    </a:cubicBezTo>
                    <a:close/>
                    <a:moveTo>
                      <a:pt x="587" y="387"/>
                    </a:moveTo>
                    <a:cubicBezTo>
                      <a:pt x="562" y="381"/>
                      <a:pt x="566" y="365"/>
                      <a:pt x="547" y="365"/>
                    </a:cubicBezTo>
                    <a:cubicBezTo>
                      <a:pt x="528" y="365"/>
                      <a:pt x="524" y="378"/>
                      <a:pt x="522" y="385"/>
                    </a:cubicBezTo>
                    <a:cubicBezTo>
                      <a:pt x="519" y="407"/>
                      <a:pt x="520" y="474"/>
                      <a:pt x="520" y="474"/>
                    </a:cubicBezTo>
                    <a:cubicBezTo>
                      <a:pt x="520" y="474"/>
                      <a:pt x="432" y="477"/>
                      <a:pt x="410" y="473"/>
                    </a:cubicBezTo>
                    <a:cubicBezTo>
                      <a:pt x="402" y="472"/>
                      <a:pt x="390" y="468"/>
                      <a:pt x="390" y="449"/>
                    </a:cubicBezTo>
                    <a:cubicBezTo>
                      <a:pt x="390" y="430"/>
                      <a:pt x="406" y="434"/>
                      <a:pt x="412" y="409"/>
                    </a:cubicBezTo>
                    <a:cubicBezTo>
                      <a:pt x="414" y="383"/>
                      <a:pt x="392" y="364"/>
                      <a:pt x="368" y="364"/>
                    </a:cubicBezTo>
                    <a:cubicBezTo>
                      <a:pt x="344" y="364"/>
                      <a:pt x="323" y="383"/>
                      <a:pt x="325" y="409"/>
                    </a:cubicBezTo>
                    <a:cubicBezTo>
                      <a:pt x="331" y="434"/>
                      <a:pt x="347" y="430"/>
                      <a:pt x="347" y="449"/>
                    </a:cubicBezTo>
                    <a:cubicBezTo>
                      <a:pt x="347" y="468"/>
                      <a:pt x="334" y="472"/>
                      <a:pt x="326" y="473"/>
                    </a:cubicBezTo>
                    <a:cubicBezTo>
                      <a:pt x="305" y="477"/>
                      <a:pt x="214" y="474"/>
                      <a:pt x="214" y="474"/>
                    </a:cubicBezTo>
                    <a:cubicBezTo>
                      <a:pt x="214" y="474"/>
                      <a:pt x="216" y="407"/>
                      <a:pt x="213" y="385"/>
                    </a:cubicBezTo>
                    <a:cubicBezTo>
                      <a:pt x="212" y="377"/>
                      <a:pt x="207" y="365"/>
                      <a:pt x="188" y="365"/>
                    </a:cubicBezTo>
                    <a:cubicBezTo>
                      <a:pt x="169" y="365"/>
                      <a:pt x="174" y="381"/>
                      <a:pt x="148" y="387"/>
                    </a:cubicBezTo>
                    <a:cubicBezTo>
                      <a:pt x="123" y="389"/>
                      <a:pt x="104" y="368"/>
                      <a:pt x="104" y="344"/>
                    </a:cubicBezTo>
                    <a:cubicBezTo>
                      <a:pt x="104" y="319"/>
                      <a:pt x="123" y="298"/>
                      <a:pt x="148" y="300"/>
                    </a:cubicBezTo>
                    <a:cubicBezTo>
                      <a:pt x="174" y="306"/>
                      <a:pt x="169" y="322"/>
                      <a:pt x="188" y="322"/>
                    </a:cubicBezTo>
                    <a:cubicBezTo>
                      <a:pt x="207" y="322"/>
                      <a:pt x="212" y="310"/>
                      <a:pt x="213" y="302"/>
                    </a:cubicBezTo>
                    <a:cubicBezTo>
                      <a:pt x="216" y="280"/>
                      <a:pt x="216" y="213"/>
                      <a:pt x="216" y="213"/>
                    </a:cubicBezTo>
                    <a:cubicBezTo>
                      <a:pt x="216" y="213"/>
                      <a:pt x="305" y="199"/>
                      <a:pt x="326" y="203"/>
                    </a:cubicBezTo>
                    <a:cubicBezTo>
                      <a:pt x="334" y="204"/>
                      <a:pt x="347" y="208"/>
                      <a:pt x="347" y="227"/>
                    </a:cubicBezTo>
                    <a:cubicBezTo>
                      <a:pt x="347" y="246"/>
                      <a:pt x="331" y="242"/>
                      <a:pt x="325" y="267"/>
                    </a:cubicBezTo>
                    <a:cubicBezTo>
                      <a:pt x="323" y="293"/>
                      <a:pt x="344" y="312"/>
                      <a:pt x="368" y="312"/>
                    </a:cubicBezTo>
                    <a:cubicBezTo>
                      <a:pt x="392" y="312"/>
                      <a:pt x="414" y="293"/>
                      <a:pt x="412" y="267"/>
                    </a:cubicBezTo>
                    <a:cubicBezTo>
                      <a:pt x="406" y="242"/>
                      <a:pt x="390" y="246"/>
                      <a:pt x="390" y="227"/>
                    </a:cubicBezTo>
                    <a:cubicBezTo>
                      <a:pt x="390" y="208"/>
                      <a:pt x="402" y="204"/>
                      <a:pt x="410" y="203"/>
                    </a:cubicBezTo>
                    <a:cubicBezTo>
                      <a:pt x="432" y="199"/>
                      <a:pt x="521" y="213"/>
                      <a:pt x="521" y="213"/>
                    </a:cubicBezTo>
                    <a:cubicBezTo>
                      <a:pt x="521" y="213"/>
                      <a:pt x="519" y="280"/>
                      <a:pt x="522" y="302"/>
                    </a:cubicBezTo>
                    <a:cubicBezTo>
                      <a:pt x="524" y="310"/>
                      <a:pt x="528" y="322"/>
                      <a:pt x="547" y="322"/>
                    </a:cubicBezTo>
                    <a:cubicBezTo>
                      <a:pt x="566" y="322"/>
                      <a:pt x="562" y="306"/>
                      <a:pt x="587" y="300"/>
                    </a:cubicBezTo>
                    <a:cubicBezTo>
                      <a:pt x="613" y="298"/>
                      <a:pt x="631" y="319"/>
                      <a:pt x="631" y="344"/>
                    </a:cubicBezTo>
                    <a:cubicBezTo>
                      <a:pt x="631" y="368"/>
                      <a:pt x="613" y="389"/>
                      <a:pt x="587" y="387"/>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
        <p:nvSpPr>
          <p:cNvPr id="75" name="Oval 18"/>
          <p:cNvSpPr/>
          <p:nvPr/>
        </p:nvSpPr>
        <p:spPr>
          <a:xfrm>
            <a:off x="6922664" y="4243328"/>
            <a:ext cx="473861" cy="478093"/>
          </a:xfrm>
          <a:custGeom>
            <a:avLst/>
            <a:gdLst>
              <a:gd name="f0" fmla="val 21600000"/>
              <a:gd name="f1" fmla="val 10800000"/>
              <a:gd name="f2" fmla="val 5400000"/>
              <a:gd name="f3" fmla="val 180"/>
              <a:gd name="f4" fmla="val w"/>
              <a:gd name="f5" fmla="val h"/>
              <a:gd name="f6" fmla="val ss"/>
              <a:gd name="f7" fmla="val 0"/>
              <a:gd name="f8" fmla="*/ 5419351 1 1725033"/>
              <a:gd name="f9" fmla="+- 0 0 -360"/>
              <a:gd name="f10" fmla="+- 0 0 -180"/>
              <a:gd name="f11" fmla="abs f4"/>
              <a:gd name="f12" fmla="abs f5"/>
              <a:gd name="f13" fmla="abs f6"/>
              <a:gd name="f14" fmla="+- 2700000 f2 0"/>
              <a:gd name="f15" fmla="*/ f9 f1 1"/>
              <a:gd name="f16" fmla="*/ f10 f1 1"/>
              <a:gd name="f17" fmla="?: f11 f4 1"/>
              <a:gd name="f18" fmla="?: f12 f5 1"/>
              <a:gd name="f19" fmla="?: f13 f6 1"/>
              <a:gd name="f20" fmla="+- f14 0 f2"/>
              <a:gd name="f21" fmla="*/ f15 1 f3"/>
              <a:gd name="f22" fmla="*/ f16 1 f3"/>
              <a:gd name="f23" fmla="*/ f17 1 21600"/>
              <a:gd name="f24" fmla="*/ f18 1 21600"/>
              <a:gd name="f25" fmla="*/ 21600 f17 1"/>
              <a:gd name="f26" fmla="*/ 21600 f18 1"/>
              <a:gd name="f27" fmla="+- f20 f2 0"/>
              <a:gd name="f28" fmla="+- f21 0 f2"/>
              <a:gd name="f29" fmla="+- f22 0 f2"/>
              <a:gd name="f30" fmla="min f24 f23"/>
              <a:gd name="f31" fmla="*/ f25 1 f19"/>
              <a:gd name="f32" fmla="*/ f26 1 f19"/>
              <a:gd name="f33" fmla="*/ f27 f8 1"/>
              <a:gd name="f34" fmla="val f31"/>
              <a:gd name="f35" fmla="val f32"/>
              <a:gd name="f36" fmla="*/ f33 1 f1"/>
              <a:gd name="f37" fmla="*/ f7 f30 1"/>
              <a:gd name="f38" fmla="+- f35 0 f7"/>
              <a:gd name="f39" fmla="+- f34 0 f7"/>
              <a:gd name="f40" fmla="+- 0 0 f36"/>
              <a:gd name="f41" fmla="*/ f38 1 2"/>
              <a:gd name="f42" fmla="*/ f39 1 2"/>
              <a:gd name="f43" fmla="+- 0 0 f40"/>
              <a:gd name="f44" fmla="+- f7 f41 0"/>
              <a:gd name="f45" fmla="+- f7 f42 0"/>
              <a:gd name="f46" fmla="*/ f43 f1 1"/>
              <a:gd name="f47" fmla="*/ f42 f30 1"/>
              <a:gd name="f48" fmla="*/ f41 f30 1"/>
              <a:gd name="f49" fmla="*/ f46 1 f8"/>
              <a:gd name="f50" fmla="*/ f44 f30 1"/>
              <a:gd name="f51" fmla="+- f49 0 f2"/>
              <a:gd name="f52" fmla="cos 1 f51"/>
              <a:gd name="f53" fmla="sin 1 f51"/>
              <a:gd name="f54" fmla="+- 0 0 f52"/>
              <a:gd name="f55" fmla="+- 0 0 f53"/>
              <a:gd name="f56" fmla="+- 0 0 f54"/>
              <a:gd name="f57" fmla="+- 0 0 f55"/>
              <a:gd name="f58" fmla="val f56"/>
              <a:gd name="f59" fmla="val f57"/>
              <a:gd name="f60" fmla="*/ f58 f42 1"/>
              <a:gd name="f61" fmla="*/ f59 f41 1"/>
              <a:gd name="f62" fmla="+- f45 0 f60"/>
              <a:gd name="f63" fmla="+- f45 f60 0"/>
              <a:gd name="f64" fmla="+- f44 0 f61"/>
              <a:gd name="f65" fmla="+- f44 f61 0"/>
              <a:gd name="f66" fmla="*/ f62 f30 1"/>
              <a:gd name="f67" fmla="*/ f64 f30 1"/>
              <a:gd name="f68" fmla="*/ f63 f30 1"/>
              <a:gd name="f69" fmla="*/ f65 f30 1"/>
            </a:gdLst>
            <a:ahLst/>
            <a:cxnLst>
              <a:cxn ang="3cd4">
                <a:pos x="hc" y="t"/>
              </a:cxn>
              <a:cxn ang="0">
                <a:pos x="r" y="vc"/>
              </a:cxn>
              <a:cxn ang="cd4">
                <a:pos x="hc" y="b"/>
              </a:cxn>
              <a:cxn ang="cd2">
                <a:pos x="l" y="vc"/>
              </a:cxn>
              <a:cxn ang="f28">
                <a:pos x="f66" y="f67"/>
              </a:cxn>
              <a:cxn ang="f29">
                <a:pos x="f66" y="f69"/>
              </a:cxn>
              <a:cxn ang="f29">
                <a:pos x="f68" y="f69"/>
              </a:cxn>
              <a:cxn ang="f28">
                <a:pos x="f68" y="f67"/>
              </a:cxn>
            </a:cxnLst>
            <a:rect l="f66" t="f67" r="f68" b="f69"/>
            <a:pathLst>
              <a:path>
                <a:moveTo>
                  <a:pt x="f37" y="f50"/>
                </a:moveTo>
                <a:arcTo wR="f47" hR="f48" stAng="f1" swAng="f0"/>
                <a:close/>
              </a:path>
            </a:pathLst>
          </a:custGeom>
          <a:solidFill>
            <a:srgbClr val="2DA2BF"/>
          </a:solidFill>
          <a:ln w="57150" cap="rnd">
            <a:solidFill>
              <a:srgbClr val="FFFFFF"/>
            </a:solidFill>
            <a:prstDash val="solid"/>
            <a:miter/>
          </a:ln>
        </p:spPr>
        <p:txBody>
          <a:bodyPr vert="horz" wrap="square" lIns="91440" tIns="45720" rIns="91440" bIns="45720"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pt-PT" sz="1600" b="1" i="0" u="none" strike="noStrike" kern="1200" cap="none" spc="0" baseline="0">
                <a:solidFill>
                  <a:schemeClr val="bg1"/>
                </a:solidFill>
                <a:uFillTx/>
                <a:latin typeface="Verdana" panose="020B0604030504040204" pitchFamily="34" charset="0"/>
                <a:ea typeface="Verdana" panose="020B0604030504040204" pitchFamily="34" charset="0"/>
              </a:rPr>
              <a:t>3</a:t>
            </a:r>
          </a:p>
        </p:txBody>
      </p:sp>
      <p:sp>
        <p:nvSpPr>
          <p:cNvPr id="12" name="Rectángulo 11">
            <a:extLst>
              <a:ext uri="{FF2B5EF4-FFF2-40B4-BE49-F238E27FC236}">
                <a16:creationId xmlns:a16="http://schemas.microsoft.com/office/drawing/2014/main" id="{5D1A7C7A-722E-4888-9EBF-35B3DD451200}"/>
              </a:ext>
            </a:extLst>
          </p:cNvPr>
          <p:cNvSpPr/>
          <p:nvPr/>
        </p:nvSpPr>
        <p:spPr>
          <a:xfrm>
            <a:off x="1587538" y="4823690"/>
            <a:ext cx="2268000" cy="1351642"/>
          </a:xfrm>
          <a:prstGeom prst="rect">
            <a:avLst/>
          </a:prstGeom>
          <a:noFill/>
        </p:spPr>
        <p:txBody>
          <a:bodyPr wrap="square" lIns="91440" tIns="45720" rIns="91440" bIns="45720" rtlCol="0" anchor="t">
            <a:noAutofit/>
          </a:bodyPr>
          <a:lstStyle/>
          <a:p>
            <a:pPr algn="ctr">
              <a:lnSpc>
                <a:spcPct val="150000"/>
              </a:lnSpc>
              <a:defRPr/>
            </a:pPr>
            <a:r>
              <a:rPr lang="en-US" sz="1400" kern="0" dirty="0">
                <a:latin typeface="Verdana"/>
                <a:ea typeface="Verdana"/>
              </a:rPr>
              <a:t>Master trainer explains the exercise and examples</a:t>
            </a:r>
          </a:p>
        </p:txBody>
      </p:sp>
      <p:sp>
        <p:nvSpPr>
          <p:cNvPr id="27" name="Rectángulo 11 - 1 - 1">
            <a:extLst>
              <a:ext uri="{FF2B5EF4-FFF2-40B4-BE49-F238E27FC236}">
                <a16:creationId xmlns:a16="http://schemas.microsoft.com/office/drawing/2014/main" id="{5D1A7C7A-722E-4888-9EBF-35B3DD451200}"/>
              </a:ext>
            </a:extLst>
          </p:cNvPr>
          <p:cNvSpPr/>
          <p:nvPr/>
        </p:nvSpPr>
        <p:spPr>
          <a:xfrm>
            <a:off x="4130606" y="4823690"/>
            <a:ext cx="1789551" cy="1351642"/>
          </a:xfrm>
          <a:prstGeom prst="rect">
            <a:avLst/>
          </a:prstGeom>
          <a:noFill/>
        </p:spPr>
        <p:txBody>
          <a:bodyPr wrap="square" lIns="91440" tIns="45720" rIns="91440" bIns="45720" rtlCol="0" anchor="t">
            <a:noAutofit/>
          </a:bodyPr>
          <a:lstStyle/>
          <a:p>
            <a:pPr algn="ctr">
              <a:lnSpc>
                <a:spcPct val="150000"/>
              </a:lnSpc>
              <a:defRPr/>
            </a:pPr>
            <a:r>
              <a:rPr lang="en-US" sz="1400" kern="0" dirty="0">
                <a:latin typeface="Verdana"/>
                <a:ea typeface="Verdana"/>
              </a:rPr>
              <a:t>Participants are divided in groups </a:t>
            </a:r>
            <a:r>
              <a:rPr lang="en-US" sz="1200" i="1" kern="0" dirty="0">
                <a:latin typeface="Verdana"/>
                <a:ea typeface="Verdana"/>
              </a:rPr>
              <a:t>(if possible)</a:t>
            </a:r>
          </a:p>
        </p:txBody>
      </p:sp>
      <p:sp>
        <p:nvSpPr>
          <p:cNvPr id="28" name="Rectángulo 11 - 2">
            <a:extLst>
              <a:ext uri="{FF2B5EF4-FFF2-40B4-BE49-F238E27FC236}">
                <a16:creationId xmlns:a16="http://schemas.microsoft.com/office/drawing/2014/main" id="{5D1A7C7A-722E-4888-9EBF-35B3DD451200}"/>
              </a:ext>
            </a:extLst>
          </p:cNvPr>
          <p:cNvSpPr/>
          <p:nvPr/>
        </p:nvSpPr>
        <p:spPr>
          <a:xfrm>
            <a:off x="6113032" y="4823690"/>
            <a:ext cx="2081231" cy="1351642"/>
          </a:xfrm>
          <a:prstGeom prst="rect">
            <a:avLst/>
          </a:prstGeom>
          <a:noFill/>
        </p:spPr>
        <p:txBody>
          <a:bodyPr wrap="square" lIns="91440" tIns="45720" rIns="91440" bIns="45720" rtlCol="0" anchor="t">
            <a:noAutofit/>
          </a:bodyPr>
          <a:lstStyle/>
          <a:p>
            <a:pPr algn="ctr">
              <a:lnSpc>
                <a:spcPct val="150000"/>
              </a:lnSpc>
              <a:defRPr/>
            </a:pPr>
            <a:r>
              <a:rPr lang="en-GB" sz="1400" kern="0" dirty="0">
                <a:latin typeface="Verdana"/>
                <a:ea typeface="Verdana"/>
              </a:rPr>
              <a:t>Participants organise their process puzzle case scenario</a:t>
            </a:r>
          </a:p>
        </p:txBody>
      </p:sp>
      <p:sp>
        <p:nvSpPr>
          <p:cNvPr id="30" name="Rectángulo 11 - 3">
            <a:extLst>
              <a:ext uri="{FF2B5EF4-FFF2-40B4-BE49-F238E27FC236}">
                <a16:creationId xmlns:a16="http://schemas.microsoft.com/office/drawing/2014/main" id="{5D1A7C7A-722E-4888-9EBF-35B3DD451200}"/>
              </a:ext>
            </a:extLst>
          </p:cNvPr>
          <p:cNvSpPr/>
          <p:nvPr/>
        </p:nvSpPr>
        <p:spPr>
          <a:xfrm>
            <a:off x="8545533" y="4823690"/>
            <a:ext cx="1792229" cy="1351642"/>
          </a:xfrm>
          <a:prstGeom prst="rect">
            <a:avLst/>
          </a:prstGeom>
          <a:noFill/>
        </p:spPr>
        <p:txBody>
          <a:bodyPr wrap="square" lIns="91440" tIns="45720" rIns="91440" bIns="45720" rtlCol="0" anchor="t">
            <a:noAutofit/>
          </a:bodyPr>
          <a:lstStyle/>
          <a:p>
            <a:pPr algn="ctr">
              <a:lnSpc>
                <a:spcPct val="150000"/>
              </a:lnSpc>
              <a:defRPr/>
            </a:pPr>
            <a:r>
              <a:rPr lang="en-US" sz="1400" kern="0" dirty="0">
                <a:latin typeface="Verdana"/>
                <a:ea typeface="Verdana"/>
              </a:rPr>
              <a:t>Group</a:t>
            </a:r>
            <a:r>
              <a:rPr lang="es-ES" sz="1400" kern="0" dirty="0">
                <a:latin typeface="Verdana"/>
                <a:ea typeface="Verdana"/>
              </a:rPr>
              <a:t> </a:t>
            </a:r>
            <a:r>
              <a:rPr lang="en-GB" sz="1400" kern="0" dirty="0">
                <a:latin typeface="Verdana"/>
                <a:ea typeface="Verdana"/>
              </a:rPr>
              <a:t>discussion of the outcome of the exercise</a:t>
            </a:r>
            <a:endParaRPr lang="es-ES" sz="1400" kern="0" dirty="0">
              <a:latin typeface="Verdana"/>
              <a:ea typeface="Verdana"/>
            </a:endParaRPr>
          </a:p>
        </p:txBody>
      </p:sp>
    </p:spTree>
    <p:custDataLst>
      <p:tags r:id="rId1"/>
    </p:custDataLst>
    <p:extLst>
      <p:ext uri="{BB962C8B-B14F-4D97-AF65-F5344CB8AC3E}">
        <p14:creationId xmlns:p14="http://schemas.microsoft.com/office/powerpoint/2010/main" val="170196905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reeform 3"/>
          <p:cNvSpPr>
            <a:spLocks noChangeAspect="1"/>
          </p:cNvSpPr>
          <p:nvPr/>
        </p:nvSpPr>
        <p:spPr>
          <a:xfrm>
            <a:off x="7498076" y="4209190"/>
            <a:ext cx="1808777" cy="1571789"/>
          </a:xfrm>
          <a:custGeom>
            <a:avLst/>
            <a:gdLst>
              <a:gd name="connsiteX0" fmla="*/ 1552073 w 6244389"/>
              <a:gd name="connsiteY0" fmla="*/ 0 h 5426243"/>
              <a:gd name="connsiteX1" fmla="*/ 4704347 w 6244389"/>
              <a:gd name="connsiteY1" fmla="*/ 12032 h 5426243"/>
              <a:gd name="connsiteX2" fmla="*/ 6244389 w 6244389"/>
              <a:gd name="connsiteY2" fmla="*/ 2755232 h 5426243"/>
              <a:gd name="connsiteX3" fmla="*/ 4704347 w 6244389"/>
              <a:gd name="connsiteY3" fmla="*/ 5414211 h 5426243"/>
              <a:gd name="connsiteX4" fmla="*/ 1564105 w 6244389"/>
              <a:gd name="connsiteY4" fmla="*/ 5426243 h 5426243"/>
              <a:gd name="connsiteX5" fmla="*/ 0 w 6244389"/>
              <a:gd name="connsiteY5" fmla="*/ 2731169 h 5426243"/>
              <a:gd name="connsiteX6" fmla="*/ 1552073 w 6244389"/>
              <a:gd name="connsiteY6" fmla="*/ 0 h 54262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4389" h="5426243">
                <a:moveTo>
                  <a:pt x="1552073" y="0"/>
                </a:moveTo>
                <a:lnTo>
                  <a:pt x="4704347" y="12032"/>
                </a:lnTo>
                <a:lnTo>
                  <a:pt x="6244389" y="2755232"/>
                </a:lnTo>
                <a:lnTo>
                  <a:pt x="4704347" y="5414211"/>
                </a:lnTo>
                <a:lnTo>
                  <a:pt x="1564105" y="5426243"/>
                </a:lnTo>
                <a:lnTo>
                  <a:pt x="0" y="2731169"/>
                </a:lnTo>
                <a:lnTo>
                  <a:pt x="1552073" y="0"/>
                </a:lnTo>
                <a:close/>
              </a:path>
            </a:pathLst>
          </a:cu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a:ln>
                  <a:noFill/>
                </a:ln>
                <a:solidFill>
                  <a:prstClr val="white"/>
                </a:solidFill>
                <a:effectLst/>
                <a:uLnTx/>
                <a:uFillTx/>
                <a:latin typeface="Calibri"/>
                <a:ea typeface="+mn-ea"/>
                <a:cs typeface="+mn-cs"/>
              </a:rPr>
              <a:t>Click on the ‘search’ button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a:ln>
                  <a:noFill/>
                </a:ln>
                <a:solidFill>
                  <a:prstClr val="white"/>
                </a:solidFill>
                <a:effectLst/>
                <a:uLnTx/>
                <a:uFillTx/>
                <a:latin typeface="Calibri"/>
                <a:ea typeface="+mn-ea"/>
                <a:cs typeface="+mn-cs"/>
              </a:rPr>
              <a:t>to retrieve a list of clinical trials matching the</a:t>
            </a:r>
            <a:r>
              <a:rPr kumimoji="0" lang="en-US" sz="1600" b="0" i="0" u="none" strike="noStrike" kern="0" cap="none" spc="0" normalizeH="0" noProof="0">
                <a:ln>
                  <a:noFill/>
                </a:ln>
                <a:solidFill>
                  <a:prstClr val="white"/>
                </a:solidFill>
                <a:effectLst/>
                <a:uLnTx/>
                <a:uFillTx/>
                <a:latin typeface="Calibri"/>
                <a:ea typeface="+mn-ea"/>
                <a:cs typeface="+mn-cs"/>
              </a:rPr>
              <a:t> criteria</a:t>
            </a:r>
            <a:endParaRPr kumimoji="0" lang="en-US" sz="1600" b="0" i="0" u="none" strike="noStrike" kern="0" cap="none" spc="0" normalizeH="0" baseline="0" noProof="0">
              <a:ln>
                <a:noFill/>
              </a:ln>
              <a:solidFill>
                <a:prstClr val="white"/>
              </a:solidFill>
              <a:effectLst/>
              <a:uLnTx/>
              <a:uFillTx/>
              <a:latin typeface="Calibri"/>
              <a:ea typeface="+mn-ea"/>
              <a:cs typeface="+mn-cs"/>
            </a:endParaRPr>
          </a:p>
        </p:txBody>
      </p:sp>
      <p:sp>
        <p:nvSpPr>
          <p:cNvPr id="5" name="Freeform 4"/>
          <p:cNvSpPr>
            <a:spLocks noChangeAspect="1"/>
          </p:cNvSpPr>
          <p:nvPr/>
        </p:nvSpPr>
        <p:spPr>
          <a:xfrm>
            <a:off x="4634404" y="4209190"/>
            <a:ext cx="1808777" cy="1571789"/>
          </a:xfrm>
          <a:custGeom>
            <a:avLst/>
            <a:gdLst>
              <a:gd name="connsiteX0" fmla="*/ 1552073 w 6244389"/>
              <a:gd name="connsiteY0" fmla="*/ 0 h 5426243"/>
              <a:gd name="connsiteX1" fmla="*/ 4704347 w 6244389"/>
              <a:gd name="connsiteY1" fmla="*/ 12032 h 5426243"/>
              <a:gd name="connsiteX2" fmla="*/ 6244389 w 6244389"/>
              <a:gd name="connsiteY2" fmla="*/ 2755232 h 5426243"/>
              <a:gd name="connsiteX3" fmla="*/ 4704347 w 6244389"/>
              <a:gd name="connsiteY3" fmla="*/ 5414211 h 5426243"/>
              <a:gd name="connsiteX4" fmla="*/ 1564105 w 6244389"/>
              <a:gd name="connsiteY4" fmla="*/ 5426243 h 5426243"/>
              <a:gd name="connsiteX5" fmla="*/ 0 w 6244389"/>
              <a:gd name="connsiteY5" fmla="*/ 2731169 h 5426243"/>
              <a:gd name="connsiteX6" fmla="*/ 1552073 w 6244389"/>
              <a:gd name="connsiteY6" fmla="*/ 0 h 54262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4389" h="5426243">
                <a:moveTo>
                  <a:pt x="1552073" y="0"/>
                </a:moveTo>
                <a:lnTo>
                  <a:pt x="4704347" y="12032"/>
                </a:lnTo>
                <a:lnTo>
                  <a:pt x="6244389" y="2755232"/>
                </a:lnTo>
                <a:lnTo>
                  <a:pt x="4704347" y="5414211"/>
                </a:lnTo>
                <a:lnTo>
                  <a:pt x="1564105" y="5426243"/>
                </a:lnTo>
                <a:lnTo>
                  <a:pt x="0" y="2731169"/>
                </a:lnTo>
                <a:lnTo>
                  <a:pt x="1552073" y="0"/>
                </a:lnTo>
                <a:close/>
              </a:path>
            </a:pathLst>
          </a:cu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a:ln>
                  <a:noFill/>
                </a:ln>
                <a:solidFill>
                  <a:prstClr val="white"/>
                </a:solidFill>
                <a:effectLst/>
                <a:uLnTx/>
                <a:uFillTx/>
                <a:latin typeface="Calibri"/>
                <a:ea typeface="+mn-ea"/>
                <a:cs typeface="+mn-cs"/>
              </a:rPr>
              <a:t>Click on ‘trial advanced search’ to open th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kern="0">
                <a:solidFill>
                  <a:prstClr val="white"/>
                </a:solidFill>
                <a:latin typeface="Calibri"/>
              </a:rPr>
              <a:t>search </a:t>
            </a:r>
            <a:r>
              <a:rPr kumimoji="0" lang="en-US" sz="1600" b="0" i="0" u="none" strike="noStrike" kern="0" cap="none" spc="0" normalizeH="0" baseline="0" noProof="0">
                <a:ln>
                  <a:noFill/>
                </a:ln>
                <a:solidFill>
                  <a:prstClr val="white"/>
                </a:solidFill>
                <a:effectLst/>
                <a:uLnTx/>
                <a:uFillTx/>
                <a:latin typeface="Calibri"/>
                <a:ea typeface="+mn-ea"/>
                <a:cs typeface="+mn-cs"/>
              </a:rPr>
              <a:t>criteria</a:t>
            </a:r>
          </a:p>
        </p:txBody>
      </p:sp>
      <p:sp>
        <p:nvSpPr>
          <p:cNvPr id="6" name="Freeform 5"/>
          <p:cNvSpPr>
            <a:spLocks noChangeAspect="1"/>
          </p:cNvSpPr>
          <p:nvPr/>
        </p:nvSpPr>
        <p:spPr>
          <a:xfrm>
            <a:off x="3195877" y="3397537"/>
            <a:ext cx="1808777" cy="1571789"/>
          </a:xfrm>
          <a:custGeom>
            <a:avLst/>
            <a:gdLst>
              <a:gd name="connsiteX0" fmla="*/ 1552073 w 6244389"/>
              <a:gd name="connsiteY0" fmla="*/ 0 h 5426243"/>
              <a:gd name="connsiteX1" fmla="*/ 4704347 w 6244389"/>
              <a:gd name="connsiteY1" fmla="*/ 12032 h 5426243"/>
              <a:gd name="connsiteX2" fmla="*/ 6244389 w 6244389"/>
              <a:gd name="connsiteY2" fmla="*/ 2755232 h 5426243"/>
              <a:gd name="connsiteX3" fmla="*/ 4704347 w 6244389"/>
              <a:gd name="connsiteY3" fmla="*/ 5414211 h 5426243"/>
              <a:gd name="connsiteX4" fmla="*/ 1564105 w 6244389"/>
              <a:gd name="connsiteY4" fmla="*/ 5426243 h 5426243"/>
              <a:gd name="connsiteX5" fmla="*/ 0 w 6244389"/>
              <a:gd name="connsiteY5" fmla="*/ 2731169 h 5426243"/>
              <a:gd name="connsiteX6" fmla="*/ 1552073 w 6244389"/>
              <a:gd name="connsiteY6" fmla="*/ 0 h 54262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4389" h="5426243">
                <a:moveTo>
                  <a:pt x="1552073" y="0"/>
                </a:moveTo>
                <a:lnTo>
                  <a:pt x="4704347" y="12032"/>
                </a:lnTo>
                <a:lnTo>
                  <a:pt x="6244389" y="2755232"/>
                </a:lnTo>
                <a:lnTo>
                  <a:pt x="4704347" y="5414211"/>
                </a:lnTo>
                <a:lnTo>
                  <a:pt x="1564105" y="5426243"/>
                </a:lnTo>
                <a:lnTo>
                  <a:pt x="0" y="2731169"/>
                </a:lnTo>
                <a:lnTo>
                  <a:pt x="1552073" y="0"/>
                </a:lnTo>
                <a:close/>
              </a:path>
            </a:pathLst>
          </a:cu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600" kern="0">
                <a:solidFill>
                  <a:prstClr val="white"/>
                </a:solidFill>
                <a:latin typeface="Calibri"/>
              </a:rPr>
              <a:t>Login to CTIS </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600" kern="0">
                <a:solidFill>
                  <a:prstClr val="white"/>
                </a:solidFill>
                <a:latin typeface="Calibri"/>
              </a:rPr>
              <a:t>sponsor </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600" kern="0">
                <a:solidFill>
                  <a:prstClr val="white"/>
                </a:solidFill>
                <a:latin typeface="Calibri"/>
              </a:rPr>
              <a:t>workspace</a:t>
            </a:r>
            <a:endParaRPr kumimoji="0" lang="en-US" sz="1600" b="0" i="0" u="none" strike="noStrike" kern="0" cap="none" spc="0" normalizeH="0" baseline="0" noProof="0">
              <a:ln>
                <a:noFill/>
              </a:ln>
              <a:solidFill>
                <a:prstClr val="white"/>
              </a:solidFill>
              <a:effectLst/>
              <a:uLnTx/>
              <a:uFillTx/>
              <a:latin typeface="Calibri"/>
            </a:endParaRPr>
          </a:p>
        </p:txBody>
      </p:sp>
      <p:sp>
        <p:nvSpPr>
          <p:cNvPr id="8" name="Freeform 7"/>
          <p:cNvSpPr>
            <a:spLocks noChangeAspect="1"/>
          </p:cNvSpPr>
          <p:nvPr/>
        </p:nvSpPr>
        <p:spPr>
          <a:xfrm>
            <a:off x="6059549" y="3397537"/>
            <a:ext cx="1808777" cy="1571789"/>
          </a:xfrm>
          <a:custGeom>
            <a:avLst/>
            <a:gdLst>
              <a:gd name="connsiteX0" fmla="*/ 1552073 w 6244389"/>
              <a:gd name="connsiteY0" fmla="*/ 0 h 5426243"/>
              <a:gd name="connsiteX1" fmla="*/ 4704347 w 6244389"/>
              <a:gd name="connsiteY1" fmla="*/ 12032 h 5426243"/>
              <a:gd name="connsiteX2" fmla="*/ 6244389 w 6244389"/>
              <a:gd name="connsiteY2" fmla="*/ 2755232 h 5426243"/>
              <a:gd name="connsiteX3" fmla="*/ 4704347 w 6244389"/>
              <a:gd name="connsiteY3" fmla="*/ 5414211 h 5426243"/>
              <a:gd name="connsiteX4" fmla="*/ 1564105 w 6244389"/>
              <a:gd name="connsiteY4" fmla="*/ 5426243 h 5426243"/>
              <a:gd name="connsiteX5" fmla="*/ 0 w 6244389"/>
              <a:gd name="connsiteY5" fmla="*/ 2731169 h 5426243"/>
              <a:gd name="connsiteX6" fmla="*/ 1552073 w 6244389"/>
              <a:gd name="connsiteY6" fmla="*/ 0 h 54262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4389" h="5426243">
                <a:moveTo>
                  <a:pt x="1552073" y="0"/>
                </a:moveTo>
                <a:lnTo>
                  <a:pt x="4704347" y="12032"/>
                </a:lnTo>
                <a:lnTo>
                  <a:pt x="6244389" y="2755232"/>
                </a:lnTo>
                <a:lnTo>
                  <a:pt x="4704347" y="5414211"/>
                </a:lnTo>
                <a:lnTo>
                  <a:pt x="1564105" y="5426243"/>
                </a:lnTo>
                <a:lnTo>
                  <a:pt x="0" y="2731169"/>
                </a:lnTo>
                <a:lnTo>
                  <a:pt x="1552073" y="0"/>
                </a:lnTo>
                <a:close/>
              </a:path>
            </a:pathLst>
          </a:cu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a:ln>
                  <a:noFill/>
                </a:ln>
                <a:solidFill>
                  <a:prstClr val="white"/>
                </a:solidFill>
                <a:effectLst/>
                <a:uLnTx/>
                <a:uFillTx/>
                <a:latin typeface="Calibri"/>
                <a:ea typeface="+mn-ea"/>
                <a:cs typeface="+mn-cs"/>
              </a:rPr>
              <a:t>Select the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a:ln>
                  <a:noFill/>
                </a:ln>
                <a:solidFill>
                  <a:prstClr val="white"/>
                </a:solidFill>
                <a:effectLst/>
                <a:uLnTx/>
                <a:uFillTx/>
                <a:latin typeface="Calibri"/>
                <a:ea typeface="+mn-ea"/>
                <a:cs typeface="+mn-cs"/>
              </a:rPr>
              <a:t>desired criteria to find the trial</a:t>
            </a:r>
          </a:p>
        </p:txBody>
      </p:sp>
      <p:sp>
        <p:nvSpPr>
          <p:cNvPr id="25" name="TextBox 17"/>
          <p:cNvSpPr txBox="1"/>
          <p:nvPr/>
        </p:nvSpPr>
        <p:spPr>
          <a:xfrm>
            <a:off x="887505" y="691082"/>
            <a:ext cx="8313900" cy="400110"/>
          </a:xfrm>
          <a:prstGeom prst="rect">
            <a:avLst/>
          </a:prstGeom>
          <a:noFill/>
        </p:spPr>
        <p:txBody>
          <a:bodyPr wrap="square" rtlCol="0">
            <a:spAutoFit/>
          </a:bodyPr>
          <a:lstStyle/>
          <a:p>
            <a:pPr lvl="0">
              <a:defRPr/>
            </a:pPr>
            <a:r>
              <a:rPr kumimoji="0" lang="en-US" sz="2000" b="1" i="0" u="none" strike="noStrike" kern="0" cap="none" spc="0" normalizeH="0" baseline="0" noProof="0" dirty="0">
                <a:ln>
                  <a:noFill/>
                </a:ln>
                <a:solidFill>
                  <a:srgbClr val="2DA2BF"/>
                </a:solidFill>
                <a:effectLst/>
                <a:uLnTx/>
                <a:uFillTx/>
                <a:latin typeface="Verdana" panose="020B0604030504040204" pitchFamily="34" charset="0"/>
                <a:ea typeface="Verdana" panose="020B0604030504040204" pitchFamily="34" charset="0"/>
              </a:rPr>
              <a:t>Example </a:t>
            </a:r>
            <a:r>
              <a:rPr lang="en-US" sz="2000" b="1" kern="0" dirty="0">
                <a:solidFill>
                  <a:srgbClr val="2DA2BF"/>
                </a:solidFill>
                <a:latin typeface="Verdana" panose="020B0604030504040204" pitchFamily="34" charset="0"/>
                <a:ea typeface="Verdana" panose="020B0604030504040204" pitchFamily="34" charset="0"/>
              </a:rPr>
              <a:t>of a process puzzle</a:t>
            </a:r>
            <a:endParaRPr kumimoji="0" lang="en-US" sz="2000" b="1" i="0" u="none" strike="noStrike" kern="0" cap="none" spc="0" normalizeH="0" baseline="0" noProof="0" dirty="0">
              <a:ln>
                <a:noFill/>
              </a:ln>
              <a:solidFill>
                <a:srgbClr val="2DA2BF"/>
              </a:solidFill>
              <a:effectLst/>
              <a:uLnTx/>
              <a:uFillTx/>
              <a:latin typeface="Verdana" panose="020B0604030504040204" pitchFamily="34" charset="0"/>
              <a:ea typeface="Verdana" panose="020B0604030504040204" pitchFamily="34" charset="0"/>
            </a:endParaRPr>
          </a:p>
        </p:txBody>
      </p:sp>
      <p:sp>
        <p:nvSpPr>
          <p:cNvPr id="10" name="TextBox 4"/>
          <p:cNvSpPr txBox="1"/>
          <p:nvPr/>
        </p:nvSpPr>
        <p:spPr>
          <a:xfrm>
            <a:off x="516307" y="1421118"/>
            <a:ext cx="8541207" cy="1042485"/>
          </a:xfrm>
          <a:prstGeom prst="rect">
            <a:avLst/>
          </a:prstGeom>
          <a:noFill/>
        </p:spPr>
        <p:txBody>
          <a:bodyPr wrap="square" rtlCol="0">
            <a:noAutofit/>
          </a:bodyPr>
          <a:lstStyle/>
          <a:p>
            <a:pPr lvl="0" algn="just">
              <a:lnSpc>
                <a:spcPct val="150000"/>
              </a:lnSpc>
              <a:defRPr/>
            </a:pPr>
            <a:r>
              <a:rPr kumimoji="0" lang="en-US" sz="1400" b="0" i="0" u="none" strike="noStrike" kern="0" cap="none" spc="0" normalizeH="0" baseline="0" noProof="0" dirty="0">
                <a:ln>
                  <a:noFill/>
                </a:ln>
                <a:solidFill>
                  <a:sysClr val="windowText" lastClr="000000"/>
                </a:solidFill>
                <a:effectLst/>
                <a:uLnTx/>
                <a:uFillTx/>
                <a:latin typeface="Verdana" panose="020B0604030504040204" pitchFamily="34" charset="0"/>
                <a:ea typeface="Verdana" panose="020B0604030504040204" pitchFamily="34" charset="0"/>
              </a:rPr>
              <a:t>In this </a:t>
            </a:r>
            <a:r>
              <a:rPr lang="en-US" sz="1400" kern="0" dirty="0">
                <a:solidFill>
                  <a:sysClr val="windowText" lastClr="000000"/>
                </a:solidFill>
                <a:latin typeface="Verdana" panose="020B0604030504040204" pitchFamily="34" charset="0"/>
                <a:ea typeface="Verdana" panose="020B0604030504040204" pitchFamily="34" charset="0"/>
              </a:rPr>
              <a:t>simple example of a process puzzle, you can see the </a:t>
            </a:r>
            <a:r>
              <a:rPr lang="en-US" sz="1400" b="1" kern="0" dirty="0">
                <a:solidFill>
                  <a:sysClr val="windowText" lastClr="000000"/>
                </a:solidFill>
                <a:latin typeface="Verdana" panose="020B0604030504040204" pitchFamily="34" charset="0"/>
                <a:ea typeface="Verdana" panose="020B0604030504040204" pitchFamily="34" charset="0"/>
              </a:rPr>
              <a:t>process of how to use the trial advanced search functionality</a:t>
            </a:r>
            <a:r>
              <a:rPr lang="en-US" sz="1400" kern="0" dirty="0">
                <a:solidFill>
                  <a:sysClr val="windowText" lastClr="000000"/>
                </a:solidFill>
                <a:latin typeface="Verdana" panose="020B0604030504040204" pitchFamily="34" charset="0"/>
                <a:ea typeface="Verdana" panose="020B0604030504040204" pitchFamily="34" charset="0"/>
              </a:rPr>
              <a:t> in a visual representation.</a:t>
            </a:r>
            <a:endParaRPr kumimoji="0" lang="en-US" sz="1400" b="0" i="0" u="none" strike="noStrike" kern="0" cap="none" spc="0" normalizeH="0" baseline="0" noProof="0" dirty="0">
              <a:ln>
                <a:noFill/>
              </a:ln>
              <a:solidFill>
                <a:sysClr val="windowText" lastClr="000000"/>
              </a:solidFill>
              <a:effectLst/>
              <a:uLnTx/>
              <a:uFillTx/>
              <a:latin typeface="Verdana" panose="020B0604030504040204" pitchFamily="34" charset="0"/>
              <a:ea typeface="Verdana" panose="020B0604030504040204" pitchFamily="34" charset="0"/>
            </a:endParaRPr>
          </a:p>
        </p:txBody>
      </p:sp>
      <p:cxnSp>
        <p:nvCxnSpPr>
          <p:cNvPr id="11" name="Straight Connector 19"/>
          <p:cNvCxnSpPr/>
          <p:nvPr/>
        </p:nvCxnSpPr>
        <p:spPr>
          <a:xfrm rot="5400000">
            <a:off x="6328199" y="3494979"/>
            <a:ext cx="0" cy="5544000"/>
          </a:xfrm>
          <a:prstGeom prst="straightConnector1">
            <a:avLst/>
          </a:prstGeom>
          <a:noFill/>
          <a:ln w="38100" cap="rnd">
            <a:solidFill>
              <a:srgbClr val="003399"/>
            </a:solidFill>
            <a:prstDash val="solid"/>
            <a:miter/>
          </a:ln>
        </p:spPr>
      </p:cxnSp>
      <p:sp>
        <p:nvSpPr>
          <p:cNvPr id="14" name="Oval 11"/>
          <p:cNvSpPr/>
          <p:nvPr/>
        </p:nvSpPr>
        <p:spPr>
          <a:xfrm>
            <a:off x="8242612" y="6031436"/>
            <a:ext cx="468000" cy="468000"/>
          </a:xfrm>
          <a:custGeom>
            <a:avLst/>
            <a:gdLst>
              <a:gd name="f0" fmla="val 21600000"/>
              <a:gd name="f1" fmla="val 10800000"/>
              <a:gd name="f2" fmla="val 5400000"/>
              <a:gd name="f3" fmla="val 180"/>
              <a:gd name="f4" fmla="val w"/>
              <a:gd name="f5" fmla="val h"/>
              <a:gd name="f6" fmla="val ss"/>
              <a:gd name="f7" fmla="val 0"/>
              <a:gd name="f8" fmla="*/ 5419351 1 1725033"/>
              <a:gd name="f9" fmla="+- 0 0 -360"/>
              <a:gd name="f10" fmla="+- 0 0 -180"/>
              <a:gd name="f11" fmla="abs f4"/>
              <a:gd name="f12" fmla="abs f5"/>
              <a:gd name="f13" fmla="abs f6"/>
              <a:gd name="f14" fmla="+- 2700000 f2 0"/>
              <a:gd name="f15" fmla="*/ f9 f1 1"/>
              <a:gd name="f16" fmla="*/ f10 f1 1"/>
              <a:gd name="f17" fmla="?: f11 f4 1"/>
              <a:gd name="f18" fmla="?: f12 f5 1"/>
              <a:gd name="f19" fmla="?: f13 f6 1"/>
              <a:gd name="f20" fmla="+- f14 0 f2"/>
              <a:gd name="f21" fmla="*/ f15 1 f3"/>
              <a:gd name="f22" fmla="*/ f16 1 f3"/>
              <a:gd name="f23" fmla="*/ f17 1 21600"/>
              <a:gd name="f24" fmla="*/ f18 1 21600"/>
              <a:gd name="f25" fmla="*/ 21600 f17 1"/>
              <a:gd name="f26" fmla="*/ 21600 f18 1"/>
              <a:gd name="f27" fmla="+- f20 f2 0"/>
              <a:gd name="f28" fmla="+- f21 0 f2"/>
              <a:gd name="f29" fmla="+- f22 0 f2"/>
              <a:gd name="f30" fmla="min f24 f23"/>
              <a:gd name="f31" fmla="*/ f25 1 f19"/>
              <a:gd name="f32" fmla="*/ f26 1 f19"/>
              <a:gd name="f33" fmla="*/ f27 f8 1"/>
              <a:gd name="f34" fmla="val f31"/>
              <a:gd name="f35" fmla="val f32"/>
              <a:gd name="f36" fmla="*/ f33 1 f1"/>
              <a:gd name="f37" fmla="*/ f7 f30 1"/>
              <a:gd name="f38" fmla="+- f35 0 f7"/>
              <a:gd name="f39" fmla="+- f34 0 f7"/>
              <a:gd name="f40" fmla="+- 0 0 f36"/>
              <a:gd name="f41" fmla="*/ f38 1 2"/>
              <a:gd name="f42" fmla="*/ f39 1 2"/>
              <a:gd name="f43" fmla="+- 0 0 f40"/>
              <a:gd name="f44" fmla="+- f7 f41 0"/>
              <a:gd name="f45" fmla="+- f7 f42 0"/>
              <a:gd name="f46" fmla="*/ f43 f1 1"/>
              <a:gd name="f47" fmla="*/ f42 f30 1"/>
              <a:gd name="f48" fmla="*/ f41 f30 1"/>
              <a:gd name="f49" fmla="*/ f46 1 f8"/>
              <a:gd name="f50" fmla="*/ f44 f30 1"/>
              <a:gd name="f51" fmla="+- f49 0 f2"/>
              <a:gd name="f52" fmla="cos 1 f51"/>
              <a:gd name="f53" fmla="sin 1 f51"/>
              <a:gd name="f54" fmla="+- 0 0 f52"/>
              <a:gd name="f55" fmla="+- 0 0 f53"/>
              <a:gd name="f56" fmla="+- 0 0 f54"/>
              <a:gd name="f57" fmla="+- 0 0 f55"/>
              <a:gd name="f58" fmla="val f56"/>
              <a:gd name="f59" fmla="val f57"/>
              <a:gd name="f60" fmla="*/ f58 f42 1"/>
              <a:gd name="f61" fmla="*/ f59 f41 1"/>
              <a:gd name="f62" fmla="+- f45 0 f60"/>
              <a:gd name="f63" fmla="+- f45 f60 0"/>
              <a:gd name="f64" fmla="+- f44 0 f61"/>
              <a:gd name="f65" fmla="+- f44 f61 0"/>
              <a:gd name="f66" fmla="*/ f62 f30 1"/>
              <a:gd name="f67" fmla="*/ f64 f30 1"/>
              <a:gd name="f68" fmla="*/ f63 f30 1"/>
              <a:gd name="f69" fmla="*/ f65 f30 1"/>
            </a:gdLst>
            <a:ahLst/>
            <a:cxnLst>
              <a:cxn ang="3cd4">
                <a:pos x="hc" y="t"/>
              </a:cxn>
              <a:cxn ang="0">
                <a:pos x="r" y="vc"/>
              </a:cxn>
              <a:cxn ang="cd4">
                <a:pos x="hc" y="b"/>
              </a:cxn>
              <a:cxn ang="cd2">
                <a:pos x="l" y="vc"/>
              </a:cxn>
              <a:cxn ang="f28">
                <a:pos x="f66" y="f67"/>
              </a:cxn>
              <a:cxn ang="f29">
                <a:pos x="f66" y="f69"/>
              </a:cxn>
              <a:cxn ang="f29">
                <a:pos x="f68" y="f69"/>
              </a:cxn>
              <a:cxn ang="f28">
                <a:pos x="f68" y="f67"/>
              </a:cxn>
            </a:cxnLst>
            <a:rect l="f66" t="f67" r="f68" b="f69"/>
            <a:pathLst>
              <a:path>
                <a:moveTo>
                  <a:pt x="f37" y="f50"/>
                </a:moveTo>
                <a:arcTo wR="f47" hR="f48" stAng="f1" swAng="f0"/>
                <a:close/>
              </a:path>
            </a:pathLst>
          </a:custGeom>
          <a:solidFill>
            <a:srgbClr val="003399"/>
          </a:solidFill>
          <a:ln w="57150" cap="rnd">
            <a:solidFill>
              <a:srgbClr val="FFFFFF"/>
            </a:solidFill>
            <a:prstDash val="solid"/>
            <a:miter/>
          </a:ln>
        </p:spPr>
        <p:txBody>
          <a:bodyPr vert="horz" wrap="square" lIns="91440" tIns="45720" rIns="91440" bIns="45720"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pt-PT" sz="1600" b="1" i="0" u="none" strike="noStrike" kern="1200" cap="none" spc="0" baseline="0">
                <a:solidFill>
                  <a:schemeClr val="bg1"/>
                </a:solidFill>
                <a:uFillTx/>
                <a:latin typeface="Verdana" panose="020B0604030504040204" pitchFamily="34" charset="0"/>
                <a:ea typeface="Verdana" panose="020B0604030504040204" pitchFamily="34" charset="0"/>
              </a:rPr>
              <a:t>4</a:t>
            </a:r>
          </a:p>
        </p:txBody>
      </p:sp>
      <p:sp>
        <p:nvSpPr>
          <p:cNvPr id="16" name="Oval 10"/>
          <p:cNvSpPr/>
          <p:nvPr/>
        </p:nvSpPr>
        <p:spPr>
          <a:xfrm>
            <a:off x="5378940" y="6031436"/>
            <a:ext cx="468000" cy="468000"/>
          </a:xfrm>
          <a:custGeom>
            <a:avLst/>
            <a:gdLst>
              <a:gd name="f0" fmla="val 21600000"/>
              <a:gd name="f1" fmla="val 10800000"/>
              <a:gd name="f2" fmla="val 5400000"/>
              <a:gd name="f3" fmla="val 180"/>
              <a:gd name="f4" fmla="val w"/>
              <a:gd name="f5" fmla="val h"/>
              <a:gd name="f6" fmla="val ss"/>
              <a:gd name="f7" fmla="val 0"/>
              <a:gd name="f8" fmla="*/ 5419351 1 1725033"/>
              <a:gd name="f9" fmla="+- 0 0 -360"/>
              <a:gd name="f10" fmla="+- 0 0 -180"/>
              <a:gd name="f11" fmla="abs f4"/>
              <a:gd name="f12" fmla="abs f5"/>
              <a:gd name="f13" fmla="abs f6"/>
              <a:gd name="f14" fmla="+- 2700000 f2 0"/>
              <a:gd name="f15" fmla="*/ f9 f1 1"/>
              <a:gd name="f16" fmla="*/ f10 f1 1"/>
              <a:gd name="f17" fmla="?: f11 f4 1"/>
              <a:gd name="f18" fmla="?: f12 f5 1"/>
              <a:gd name="f19" fmla="?: f13 f6 1"/>
              <a:gd name="f20" fmla="+- f14 0 f2"/>
              <a:gd name="f21" fmla="*/ f15 1 f3"/>
              <a:gd name="f22" fmla="*/ f16 1 f3"/>
              <a:gd name="f23" fmla="*/ f17 1 21600"/>
              <a:gd name="f24" fmla="*/ f18 1 21600"/>
              <a:gd name="f25" fmla="*/ 21600 f17 1"/>
              <a:gd name="f26" fmla="*/ 21600 f18 1"/>
              <a:gd name="f27" fmla="+- f20 f2 0"/>
              <a:gd name="f28" fmla="+- f21 0 f2"/>
              <a:gd name="f29" fmla="+- f22 0 f2"/>
              <a:gd name="f30" fmla="min f24 f23"/>
              <a:gd name="f31" fmla="*/ f25 1 f19"/>
              <a:gd name="f32" fmla="*/ f26 1 f19"/>
              <a:gd name="f33" fmla="*/ f27 f8 1"/>
              <a:gd name="f34" fmla="val f31"/>
              <a:gd name="f35" fmla="val f32"/>
              <a:gd name="f36" fmla="*/ f33 1 f1"/>
              <a:gd name="f37" fmla="*/ f7 f30 1"/>
              <a:gd name="f38" fmla="+- f35 0 f7"/>
              <a:gd name="f39" fmla="+- f34 0 f7"/>
              <a:gd name="f40" fmla="+- 0 0 f36"/>
              <a:gd name="f41" fmla="*/ f38 1 2"/>
              <a:gd name="f42" fmla="*/ f39 1 2"/>
              <a:gd name="f43" fmla="+- 0 0 f40"/>
              <a:gd name="f44" fmla="+- f7 f41 0"/>
              <a:gd name="f45" fmla="+- f7 f42 0"/>
              <a:gd name="f46" fmla="*/ f43 f1 1"/>
              <a:gd name="f47" fmla="*/ f42 f30 1"/>
              <a:gd name="f48" fmla="*/ f41 f30 1"/>
              <a:gd name="f49" fmla="*/ f46 1 f8"/>
              <a:gd name="f50" fmla="*/ f44 f30 1"/>
              <a:gd name="f51" fmla="+- f49 0 f2"/>
              <a:gd name="f52" fmla="cos 1 f51"/>
              <a:gd name="f53" fmla="sin 1 f51"/>
              <a:gd name="f54" fmla="+- 0 0 f52"/>
              <a:gd name="f55" fmla="+- 0 0 f53"/>
              <a:gd name="f56" fmla="+- 0 0 f54"/>
              <a:gd name="f57" fmla="+- 0 0 f55"/>
              <a:gd name="f58" fmla="val f56"/>
              <a:gd name="f59" fmla="val f57"/>
              <a:gd name="f60" fmla="*/ f58 f42 1"/>
              <a:gd name="f61" fmla="*/ f59 f41 1"/>
              <a:gd name="f62" fmla="+- f45 0 f60"/>
              <a:gd name="f63" fmla="+- f45 f60 0"/>
              <a:gd name="f64" fmla="+- f44 0 f61"/>
              <a:gd name="f65" fmla="+- f44 f61 0"/>
              <a:gd name="f66" fmla="*/ f62 f30 1"/>
              <a:gd name="f67" fmla="*/ f64 f30 1"/>
              <a:gd name="f68" fmla="*/ f63 f30 1"/>
              <a:gd name="f69" fmla="*/ f65 f30 1"/>
            </a:gdLst>
            <a:ahLst/>
            <a:cxnLst>
              <a:cxn ang="3cd4">
                <a:pos x="hc" y="t"/>
              </a:cxn>
              <a:cxn ang="0">
                <a:pos x="r" y="vc"/>
              </a:cxn>
              <a:cxn ang="cd4">
                <a:pos x="hc" y="b"/>
              </a:cxn>
              <a:cxn ang="cd2">
                <a:pos x="l" y="vc"/>
              </a:cxn>
              <a:cxn ang="f28">
                <a:pos x="f66" y="f67"/>
              </a:cxn>
              <a:cxn ang="f29">
                <a:pos x="f66" y="f69"/>
              </a:cxn>
              <a:cxn ang="f29">
                <a:pos x="f68" y="f69"/>
              </a:cxn>
              <a:cxn ang="f28">
                <a:pos x="f68" y="f67"/>
              </a:cxn>
            </a:cxnLst>
            <a:rect l="f66" t="f67" r="f68" b="f69"/>
            <a:pathLst>
              <a:path>
                <a:moveTo>
                  <a:pt x="f37" y="f50"/>
                </a:moveTo>
                <a:arcTo wR="f47" hR="f48" stAng="f1" swAng="f0"/>
                <a:close/>
              </a:path>
            </a:pathLst>
          </a:custGeom>
          <a:solidFill>
            <a:srgbClr val="003399"/>
          </a:solidFill>
          <a:ln w="57150" cap="rnd">
            <a:solidFill>
              <a:srgbClr val="FFFFFF"/>
            </a:solidFill>
            <a:prstDash val="solid"/>
            <a:miter/>
          </a:ln>
        </p:spPr>
        <p:txBody>
          <a:bodyPr vert="horz" wrap="square" lIns="91440" tIns="45720" rIns="91440" bIns="45720"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pt-PT" sz="1600" b="1" i="0" u="none" strike="noStrike" kern="1200" cap="none" spc="0" baseline="0">
                <a:solidFill>
                  <a:schemeClr val="bg1"/>
                </a:solidFill>
                <a:uFillTx/>
                <a:latin typeface="Verdana" panose="020B0604030504040204" pitchFamily="34" charset="0"/>
                <a:ea typeface="Verdana" panose="020B0604030504040204" pitchFamily="34" charset="0"/>
              </a:rPr>
              <a:t>2</a:t>
            </a:r>
          </a:p>
        </p:txBody>
      </p:sp>
      <p:sp>
        <p:nvSpPr>
          <p:cNvPr id="17" name="Oval 18"/>
          <p:cNvSpPr/>
          <p:nvPr/>
        </p:nvSpPr>
        <p:spPr>
          <a:xfrm>
            <a:off x="6816963" y="6031436"/>
            <a:ext cx="468000" cy="468000"/>
          </a:xfrm>
          <a:custGeom>
            <a:avLst/>
            <a:gdLst>
              <a:gd name="f0" fmla="val 21600000"/>
              <a:gd name="f1" fmla="val 10800000"/>
              <a:gd name="f2" fmla="val 5400000"/>
              <a:gd name="f3" fmla="val 180"/>
              <a:gd name="f4" fmla="val w"/>
              <a:gd name="f5" fmla="val h"/>
              <a:gd name="f6" fmla="val ss"/>
              <a:gd name="f7" fmla="val 0"/>
              <a:gd name="f8" fmla="*/ 5419351 1 1725033"/>
              <a:gd name="f9" fmla="+- 0 0 -360"/>
              <a:gd name="f10" fmla="+- 0 0 -180"/>
              <a:gd name="f11" fmla="abs f4"/>
              <a:gd name="f12" fmla="abs f5"/>
              <a:gd name="f13" fmla="abs f6"/>
              <a:gd name="f14" fmla="+- 2700000 f2 0"/>
              <a:gd name="f15" fmla="*/ f9 f1 1"/>
              <a:gd name="f16" fmla="*/ f10 f1 1"/>
              <a:gd name="f17" fmla="?: f11 f4 1"/>
              <a:gd name="f18" fmla="?: f12 f5 1"/>
              <a:gd name="f19" fmla="?: f13 f6 1"/>
              <a:gd name="f20" fmla="+- f14 0 f2"/>
              <a:gd name="f21" fmla="*/ f15 1 f3"/>
              <a:gd name="f22" fmla="*/ f16 1 f3"/>
              <a:gd name="f23" fmla="*/ f17 1 21600"/>
              <a:gd name="f24" fmla="*/ f18 1 21600"/>
              <a:gd name="f25" fmla="*/ 21600 f17 1"/>
              <a:gd name="f26" fmla="*/ 21600 f18 1"/>
              <a:gd name="f27" fmla="+- f20 f2 0"/>
              <a:gd name="f28" fmla="+- f21 0 f2"/>
              <a:gd name="f29" fmla="+- f22 0 f2"/>
              <a:gd name="f30" fmla="min f24 f23"/>
              <a:gd name="f31" fmla="*/ f25 1 f19"/>
              <a:gd name="f32" fmla="*/ f26 1 f19"/>
              <a:gd name="f33" fmla="*/ f27 f8 1"/>
              <a:gd name="f34" fmla="val f31"/>
              <a:gd name="f35" fmla="val f32"/>
              <a:gd name="f36" fmla="*/ f33 1 f1"/>
              <a:gd name="f37" fmla="*/ f7 f30 1"/>
              <a:gd name="f38" fmla="+- f35 0 f7"/>
              <a:gd name="f39" fmla="+- f34 0 f7"/>
              <a:gd name="f40" fmla="+- 0 0 f36"/>
              <a:gd name="f41" fmla="*/ f38 1 2"/>
              <a:gd name="f42" fmla="*/ f39 1 2"/>
              <a:gd name="f43" fmla="+- 0 0 f40"/>
              <a:gd name="f44" fmla="+- f7 f41 0"/>
              <a:gd name="f45" fmla="+- f7 f42 0"/>
              <a:gd name="f46" fmla="*/ f43 f1 1"/>
              <a:gd name="f47" fmla="*/ f42 f30 1"/>
              <a:gd name="f48" fmla="*/ f41 f30 1"/>
              <a:gd name="f49" fmla="*/ f46 1 f8"/>
              <a:gd name="f50" fmla="*/ f44 f30 1"/>
              <a:gd name="f51" fmla="+- f49 0 f2"/>
              <a:gd name="f52" fmla="cos 1 f51"/>
              <a:gd name="f53" fmla="sin 1 f51"/>
              <a:gd name="f54" fmla="+- 0 0 f52"/>
              <a:gd name="f55" fmla="+- 0 0 f53"/>
              <a:gd name="f56" fmla="+- 0 0 f54"/>
              <a:gd name="f57" fmla="+- 0 0 f55"/>
              <a:gd name="f58" fmla="val f56"/>
              <a:gd name="f59" fmla="val f57"/>
              <a:gd name="f60" fmla="*/ f58 f42 1"/>
              <a:gd name="f61" fmla="*/ f59 f41 1"/>
              <a:gd name="f62" fmla="+- f45 0 f60"/>
              <a:gd name="f63" fmla="+- f45 f60 0"/>
              <a:gd name="f64" fmla="+- f44 0 f61"/>
              <a:gd name="f65" fmla="+- f44 f61 0"/>
              <a:gd name="f66" fmla="*/ f62 f30 1"/>
              <a:gd name="f67" fmla="*/ f64 f30 1"/>
              <a:gd name="f68" fmla="*/ f63 f30 1"/>
              <a:gd name="f69" fmla="*/ f65 f30 1"/>
            </a:gdLst>
            <a:ahLst/>
            <a:cxnLst>
              <a:cxn ang="3cd4">
                <a:pos x="hc" y="t"/>
              </a:cxn>
              <a:cxn ang="0">
                <a:pos x="r" y="vc"/>
              </a:cxn>
              <a:cxn ang="cd4">
                <a:pos x="hc" y="b"/>
              </a:cxn>
              <a:cxn ang="cd2">
                <a:pos x="l" y="vc"/>
              </a:cxn>
              <a:cxn ang="f28">
                <a:pos x="f66" y="f67"/>
              </a:cxn>
              <a:cxn ang="f29">
                <a:pos x="f66" y="f69"/>
              </a:cxn>
              <a:cxn ang="f29">
                <a:pos x="f68" y="f69"/>
              </a:cxn>
              <a:cxn ang="f28">
                <a:pos x="f68" y="f67"/>
              </a:cxn>
            </a:cxnLst>
            <a:rect l="f66" t="f67" r="f68" b="f69"/>
            <a:pathLst>
              <a:path>
                <a:moveTo>
                  <a:pt x="f37" y="f50"/>
                </a:moveTo>
                <a:arcTo wR="f47" hR="f48" stAng="f1" swAng="f0"/>
                <a:close/>
              </a:path>
            </a:pathLst>
          </a:custGeom>
          <a:solidFill>
            <a:srgbClr val="003399"/>
          </a:solidFill>
          <a:ln w="57150" cap="rnd">
            <a:solidFill>
              <a:srgbClr val="FFFFFF"/>
            </a:solidFill>
            <a:prstDash val="solid"/>
            <a:miter/>
          </a:ln>
        </p:spPr>
        <p:txBody>
          <a:bodyPr vert="horz" wrap="square" lIns="91440" tIns="45720" rIns="91440" bIns="45720"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pt-PT" sz="1600" b="1" i="0" u="none" strike="noStrike" kern="1200" cap="none" spc="0" baseline="0">
                <a:solidFill>
                  <a:schemeClr val="bg1"/>
                </a:solidFill>
                <a:uFillTx/>
                <a:latin typeface="Verdana" panose="020B0604030504040204" pitchFamily="34" charset="0"/>
                <a:ea typeface="Verdana" panose="020B0604030504040204" pitchFamily="34" charset="0"/>
              </a:rPr>
              <a:t>3</a:t>
            </a:r>
          </a:p>
        </p:txBody>
      </p:sp>
      <p:sp>
        <p:nvSpPr>
          <p:cNvPr id="18" name="Oval 10"/>
          <p:cNvSpPr/>
          <p:nvPr/>
        </p:nvSpPr>
        <p:spPr>
          <a:xfrm>
            <a:off x="3940413" y="6031436"/>
            <a:ext cx="468000" cy="468000"/>
          </a:xfrm>
          <a:custGeom>
            <a:avLst/>
            <a:gdLst>
              <a:gd name="f0" fmla="val 21600000"/>
              <a:gd name="f1" fmla="val 10800000"/>
              <a:gd name="f2" fmla="val 5400000"/>
              <a:gd name="f3" fmla="val 180"/>
              <a:gd name="f4" fmla="val w"/>
              <a:gd name="f5" fmla="val h"/>
              <a:gd name="f6" fmla="val ss"/>
              <a:gd name="f7" fmla="val 0"/>
              <a:gd name="f8" fmla="*/ 5419351 1 1725033"/>
              <a:gd name="f9" fmla="+- 0 0 -360"/>
              <a:gd name="f10" fmla="+- 0 0 -180"/>
              <a:gd name="f11" fmla="abs f4"/>
              <a:gd name="f12" fmla="abs f5"/>
              <a:gd name="f13" fmla="abs f6"/>
              <a:gd name="f14" fmla="+- 2700000 f2 0"/>
              <a:gd name="f15" fmla="*/ f9 f1 1"/>
              <a:gd name="f16" fmla="*/ f10 f1 1"/>
              <a:gd name="f17" fmla="?: f11 f4 1"/>
              <a:gd name="f18" fmla="?: f12 f5 1"/>
              <a:gd name="f19" fmla="?: f13 f6 1"/>
              <a:gd name="f20" fmla="+- f14 0 f2"/>
              <a:gd name="f21" fmla="*/ f15 1 f3"/>
              <a:gd name="f22" fmla="*/ f16 1 f3"/>
              <a:gd name="f23" fmla="*/ f17 1 21600"/>
              <a:gd name="f24" fmla="*/ f18 1 21600"/>
              <a:gd name="f25" fmla="*/ 21600 f17 1"/>
              <a:gd name="f26" fmla="*/ 21600 f18 1"/>
              <a:gd name="f27" fmla="+- f20 f2 0"/>
              <a:gd name="f28" fmla="+- f21 0 f2"/>
              <a:gd name="f29" fmla="+- f22 0 f2"/>
              <a:gd name="f30" fmla="min f24 f23"/>
              <a:gd name="f31" fmla="*/ f25 1 f19"/>
              <a:gd name="f32" fmla="*/ f26 1 f19"/>
              <a:gd name="f33" fmla="*/ f27 f8 1"/>
              <a:gd name="f34" fmla="val f31"/>
              <a:gd name="f35" fmla="val f32"/>
              <a:gd name="f36" fmla="*/ f33 1 f1"/>
              <a:gd name="f37" fmla="*/ f7 f30 1"/>
              <a:gd name="f38" fmla="+- f35 0 f7"/>
              <a:gd name="f39" fmla="+- f34 0 f7"/>
              <a:gd name="f40" fmla="+- 0 0 f36"/>
              <a:gd name="f41" fmla="*/ f38 1 2"/>
              <a:gd name="f42" fmla="*/ f39 1 2"/>
              <a:gd name="f43" fmla="+- 0 0 f40"/>
              <a:gd name="f44" fmla="+- f7 f41 0"/>
              <a:gd name="f45" fmla="+- f7 f42 0"/>
              <a:gd name="f46" fmla="*/ f43 f1 1"/>
              <a:gd name="f47" fmla="*/ f42 f30 1"/>
              <a:gd name="f48" fmla="*/ f41 f30 1"/>
              <a:gd name="f49" fmla="*/ f46 1 f8"/>
              <a:gd name="f50" fmla="*/ f44 f30 1"/>
              <a:gd name="f51" fmla="+- f49 0 f2"/>
              <a:gd name="f52" fmla="cos 1 f51"/>
              <a:gd name="f53" fmla="sin 1 f51"/>
              <a:gd name="f54" fmla="+- 0 0 f52"/>
              <a:gd name="f55" fmla="+- 0 0 f53"/>
              <a:gd name="f56" fmla="+- 0 0 f54"/>
              <a:gd name="f57" fmla="+- 0 0 f55"/>
              <a:gd name="f58" fmla="val f56"/>
              <a:gd name="f59" fmla="val f57"/>
              <a:gd name="f60" fmla="*/ f58 f42 1"/>
              <a:gd name="f61" fmla="*/ f59 f41 1"/>
              <a:gd name="f62" fmla="+- f45 0 f60"/>
              <a:gd name="f63" fmla="+- f45 f60 0"/>
              <a:gd name="f64" fmla="+- f44 0 f61"/>
              <a:gd name="f65" fmla="+- f44 f61 0"/>
              <a:gd name="f66" fmla="*/ f62 f30 1"/>
              <a:gd name="f67" fmla="*/ f64 f30 1"/>
              <a:gd name="f68" fmla="*/ f63 f30 1"/>
              <a:gd name="f69" fmla="*/ f65 f30 1"/>
            </a:gdLst>
            <a:ahLst/>
            <a:cxnLst>
              <a:cxn ang="3cd4">
                <a:pos x="hc" y="t"/>
              </a:cxn>
              <a:cxn ang="0">
                <a:pos x="r" y="vc"/>
              </a:cxn>
              <a:cxn ang="cd4">
                <a:pos x="hc" y="b"/>
              </a:cxn>
              <a:cxn ang="cd2">
                <a:pos x="l" y="vc"/>
              </a:cxn>
              <a:cxn ang="f28">
                <a:pos x="f66" y="f67"/>
              </a:cxn>
              <a:cxn ang="f29">
                <a:pos x="f66" y="f69"/>
              </a:cxn>
              <a:cxn ang="f29">
                <a:pos x="f68" y="f69"/>
              </a:cxn>
              <a:cxn ang="f28">
                <a:pos x="f68" y="f67"/>
              </a:cxn>
            </a:cxnLst>
            <a:rect l="f66" t="f67" r="f68" b="f69"/>
            <a:pathLst>
              <a:path>
                <a:moveTo>
                  <a:pt x="f37" y="f50"/>
                </a:moveTo>
                <a:arcTo wR="f47" hR="f48" stAng="f1" swAng="f0"/>
                <a:close/>
              </a:path>
            </a:pathLst>
          </a:custGeom>
          <a:solidFill>
            <a:srgbClr val="003399"/>
          </a:solidFill>
          <a:ln w="57150" cap="rnd">
            <a:solidFill>
              <a:srgbClr val="FFFFFF"/>
            </a:solidFill>
            <a:prstDash val="solid"/>
            <a:miter/>
          </a:ln>
        </p:spPr>
        <p:txBody>
          <a:bodyPr vert="horz" wrap="square" lIns="91440" tIns="45720" rIns="91440" bIns="45720"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pt-PT" sz="1600" b="1" i="0" u="none" strike="noStrike" kern="1200" cap="none" spc="0" baseline="0">
                <a:solidFill>
                  <a:schemeClr val="bg1"/>
                </a:solidFill>
                <a:uFillTx/>
                <a:latin typeface="Verdana" panose="020B0604030504040204" pitchFamily="34" charset="0"/>
                <a:ea typeface="Verdana" panose="020B0604030504040204" pitchFamily="34" charset="0"/>
              </a:rPr>
              <a:t>1</a:t>
            </a:r>
          </a:p>
        </p:txBody>
      </p:sp>
      <p:sp>
        <p:nvSpPr>
          <p:cNvPr id="9" name="Isosceles Triangle 8"/>
          <p:cNvSpPr/>
          <p:nvPr/>
        </p:nvSpPr>
        <p:spPr>
          <a:xfrm rot="5400000">
            <a:off x="9122341" y="6158979"/>
            <a:ext cx="252000" cy="216000"/>
          </a:xfrm>
          <a:prstGeom prst="triangle">
            <a:avLst/>
          </a:prstGeom>
          <a:solidFill>
            <a:srgbClr val="003399"/>
          </a:solidFill>
          <a:ln>
            <a:solidFill>
              <a:srgbClr val="00339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 name="Picture 1"/>
          <p:cNvPicPr>
            <a:picLocks noChangeAspect="1"/>
          </p:cNvPicPr>
          <p:nvPr/>
        </p:nvPicPr>
        <p:blipFill>
          <a:blip r:embed="rId4"/>
          <a:stretch>
            <a:fillRect/>
          </a:stretch>
        </p:blipFill>
        <p:spPr>
          <a:xfrm>
            <a:off x="7419974" y="1909629"/>
            <a:ext cx="4635561" cy="1441147"/>
          </a:xfrm>
          <a:prstGeom prst="rect">
            <a:avLst/>
          </a:prstGeom>
        </p:spPr>
      </p:pic>
    </p:spTree>
    <p:custDataLst>
      <p:tags r:id="rId1"/>
    </p:custDataLst>
    <p:extLst>
      <p:ext uri="{BB962C8B-B14F-4D97-AF65-F5344CB8AC3E}">
        <p14:creationId xmlns:p14="http://schemas.microsoft.com/office/powerpoint/2010/main" val="159912009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Freeform 5"/>
          <p:cNvSpPr>
            <a:spLocks/>
          </p:cNvSpPr>
          <p:nvPr/>
        </p:nvSpPr>
        <p:spPr>
          <a:xfrm>
            <a:off x="2975667" y="4701207"/>
            <a:ext cx="1260000" cy="1087022"/>
          </a:xfrm>
          <a:custGeom>
            <a:avLst/>
            <a:gdLst>
              <a:gd name="connsiteX0" fmla="*/ 1552073 w 6244389"/>
              <a:gd name="connsiteY0" fmla="*/ 0 h 5426243"/>
              <a:gd name="connsiteX1" fmla="*/ 4704347 w 6244389"/>
              <a:gd name="connsiteY1" fmla="*/ 12032 h 5426243"/>
              <a:gd name="connsiteX2" fmla="*/ 6244389 w 6244389"/>
              <a:gd name="connsiteY2" fmla="*/ 2755232 h 5426243"/>
              <a:gd name="connsiteX3" fmla="*/ 4704347 w 6244389"/>
              <a:gd name="connsiteY3" fmla="*/ 5414211 h 5426243"/>
              <a:gd name="connsiteX4" fmla="*/ 1564105 w 6244389"/>
              <a:gd name="connsiteY4" fmla="*/ 5426243 h 5426243"/>
              <a:gd name="connsiteX5" fmla="*/ 0 w 6244389"/>
              <a:gd name="connsiteY5" fmla="*/ 2731169 h 5426243"/>
              <a:gd name="connsiteX6" fmla="*/ 1552073 w 6244389"/>
              <a:gd name="connsiteY6" fmla="*/ 0 h 54262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4389" h="5426243">
                <a:moveTo>
                  <a:pt x="1552073" y="0"/>
                </a:moveTo>
                <a:lnTo>
                  <a:pt x="4704347" y="12032"/>
                </a:lnTo>
                <a:lnTo>
                  <a:pt x="6244389" y="2755232"/>
                </a:lnTo>
                <a:lnTo>
                  <a:pt x="4704347" y="5414211"/>
                </a:lnTo>
                <a:lnTo>
                  <a:pt x="1564105" y="5426243"/>
                </a:lnTo>
                <a:lnTo>
                  <a:pt x="0" y="2731169"/>
                </a:lnTo>
                <a:lnTo>
                  <a:pt x="1552073" y="0"/>
                </a:lnTo>
                <a:close/>
              </a:path>
            </a:pathLst>
          </a:custGeom>
          <a:solidFill>
            <a:schemeClr val="bg1">
              <a:lumMod val="95000"/>
            </a:schemeClr>
          </a:solid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noAutofit/>
          </a:bodyPr>
          <a:lstStyle/>
          <a:p>
            <a:pPr lvl="0" algn="ctr">
              <a:defRPr/>
            </a:pPr>
            <a:r>
              <a:rPr lang="en-US" sz="1100" i="1" kern="0">
                <a:solidFill>
                  <a:schemeClr val="bg1">
                    <a:lumMod val="50000"/>
                  </a:schemeClr>
                </a:solidFill>
                <a:latin typeface="Verdana" panose="020B0604030504040204" pitchFamily="34" charset="0"/>
                <a:ea typeface="Verdana" panose="020B0604030504040204" pitchFamily="34" charset="0"/>
              </a:rPr>
              <a:t>Drop here</a:t>
            </a:r>
          </a:p>
          <a:p>
            <a:pPr lvl="0" algn="ctr">
              <a:defRPr/>
            </a:pPr>
            <a:r>
              <a:rPr lang="en-US" sz="1100" i="1" kern="0">
                <a:solidFill>
                  <a:schemeClr val="bg1">
                    <a:lumMod val="50000"/>
                  </a:schemeClr>
                </a:solidFill>
                <a:latin typeface="Verdana" panose="020B0604030504040204" pitchFamily="34" charset="0"/>
                <a:ea typeface="Verdana" panose="020B0604030504040204" pitchFamily="34" charset="0"/>
              </a:rPr>
              <a:t>Nº 1</a:t>
            </a:r>
          </a:p>
        </p:txBody>
      </p:sp>
      <p:sp>
        <p:nvSpPr>
          <p:cNvPr id="28" name="Freeform 5"/>
          <p:cNvSpPr>
            <a:spLocks/>
          </p:cNvSpPr>
          <p:nvPr/>
        </p:nvSpPr>
        <p:spPr>
          <a:xfrm>
            <a:off x="3964434" y="5273795"/>
            <a:ext cx="1260000" cy="1087022"/>
          </a:xfrm>
          <a:custGeom>
            <a:avLst/>
            <a:gdLst>
              <a:gd name="connsiteX0" fmla="*/ 1552073 w 6244389"/>
              <a:gd name="connsiteY0" fmla="*/ 0 h 5426243"/>
              <a:gd name="connsiteX1" fmla="*/ 4704347 w 6244389"/>
              <a:gd name="connsiteY1" fmla="*/ 12032 h 5426243"/>
              <a:gd name="connsiteX2" fmla="*/ 6244389 w 6244389"/>
              <a:gd name="connsiteY2" fmla="*/ 2755232 h 5426243"/>
              <a:gd name="connsiteX3" fmla="*/ 4704347 w 6244389"/>
              <a:gd name="connsiteY3" fmla="*/ 5414211 h 5426243"/>
              <a:gd name="connsiteX4" fmla="*/ 1564105 w 6244389"/>
              <a:gd name="connsiteY4" fmla="*/ 5426243 h 5426243"/>
              <a:gd name="connsiteX5" fmla="*/ 0 w 6244389"/>
              <a:gd name="connsiteY5" fmla="*/ 2731169 h 5426243"/>
              <a:gd name="connsiteX6" fmla="*/ 1552073 w 6244389"/>
              <a:gd name="connsiteY6" fmla="*/ 0 h 54262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4389" h="5426243">
                <a:moveTo>
                  <a:pt x="1552073" y="0"/>
                </a:moveTo>
                <a:lnTo>
                  <a:pt x="4704347" y="12032"/>
                </a:lnTo>
                <a:lnTo>
                  <a:pt x="6244389" y="2755232"/>
                </a:lnTo>
                <a:lnTo>
                  <a:pt x="4704347" y="5414211"/>
                </a:lnTo>
                <a:lnTo>
                  <a:pt x="1564105" y="5426243"/>
                </a:lnTo>
                <a:lnTo>
                  <a:pt x="0" y="2731169"/>
                </a:lnTo>
                <a:lnTo>
                  <a:pt x="1552073" y="0"/>
                </a:lnTo>
                <a:close/>
              </a:path>
            </a:pathLst>
          </a:custGeom>
          <a:solidFill>
            <a:schemeClr val="bg1">
              <a:lumMod val="95000"/>
            </a:schemeClr>
          </a:solid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noAutofit/>
          </a:bodyPr>
          <a:lstStyle/>
          <a:p>
            <a:pPr lvl="0" algn="ctr">
              <a:defRPr/>
            </a:pPr>
            <a:r>
              <a:rPr lang="en-US" sz="1100" i="1" kern="0">
                <a:solidFill>
                  <a:schemeClr val="bg1">
                    <a:lumMod val="50000"/>
                  </a:schemeClr>
                </a:solidFill>
                <a:latin typeface="Verdana" panose="020B0604030504040204" pitchFamily="34" charset="0"/>
                <a:ea typeface="Verdana" panose="020B0604030504040204" pitchFamily="34" charset="0"/>
              </a:rPr>
              <a:t>Drop here</a:t>
            </a:r>
          </a:p>
          <a:p>
            <a:pPr algn="ctr">
              <a:defRPr/>
            </a:pPr>
            <a:r>
              <a:rPr lang="en-US" sz="1100" i="1" kern="0">
                <a:solidFill>
                  <a:schemeClr val="bg1">
                    <a:lumMod val="50000"/>
                  </a:schemeClr>
                </a:solidFill>
                <a:latin typeface="Verdana" panose="020B0604030504040204" pitchFamily="34" charset="0"/>
                <a:ea typeface="Verdana" panose="020B0604030504040204" pitchFamily="34" charset="0"/>
              </a:rPr>
              <a:t>Nº 2</a:t>
            </a:r>
          </a:p>
        </p:txBody>
      </p:sp>
      <p:sp>
        <p:nvSpPr>
          <p:cNvPr id="29" name="Freeform 5"/>
          <p:cNvSpPr>
            <a:spLocks/>
          </p:cNvSpPr>
          <p:nvPr/>
        </p:nvSpPr>
        <p:spPr>
          <a:xfrm>
            <a:off x="4953201" y="4701207"/>
            <a:ext cx="1260000" cy="1087022"/>
          </a:xfrm>
          <a:custGeom>
            <a:avLst/>
            <a:gdLst>
              <a:gd name="connsiteX0" fmla="*/ 1552073 w 6244389"/>
              <a:gd name="connsiteY0" fmla="*/ 0 h 5426243"/>
              <a:gd name="connsiteX1" fmla="*/ 4704347 w 6244389"/>
              <a:gd name="connsiteY1" fmla="*/ 12032 h 5426243"/>
              <a:gd name="connsiteX2" fmla="*/ 6244389 w 6244389"/>
              <a:gd name="connsiteY2" fmla="*/ 2755232 h 5426243"/>
              <a:gd name="connsiteX3" fmla="*/ 4704347 w 6244389"/>
              <a:gd name="connsiteY3" fmla="*/ 5414211 h 5426243"/>
              <a:gd name="connsiteX4" fmla="*/ 1564105 w 6244389"/>
              <a:gd name="connsiteY4" fmla="*/ 5426243 h 5426243"/>
              <a:gd name="connsiteX5" fmla="*/ 0 w 6244389"/>
              <a:gd name="connsiteY5" fmla="*/ 2731169 h 5426243"/>
              <a:gd name="connsiteX6" fmla="*/ 1552073 w 6244389"/>
              <a:gd name="connsiteY6" fmla="*/ 0 h 54262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4389" h="5426243">
                <a:moveTo>
                  <a:pt x="1552073" y="0"/>
                </a:moveTo>
                <a:lnTo>
                  <a:pt x="4704347" y="12032"/>
                </a:lnTo>
                <a:lnTo>
                  <a:pt x="6244389" y="2755232"/>
                </a:lnTo>
                <a:lnTo>
                  <a:pt x="4704347" y="5414211"/>
                </a:lnTo>
                <a:lnTo>
                  <a:pt x="1564105" y="5426243"/>
                </a:lnTo>
                <a:lnTo>
                  <a:pt x="0" y="2731169"/>
                </a:lnTo>
                <a:lnTo>
                  <a:pt x="1552073" y="0"/>
                </a:lnTo>
                <a:close/>
              </a:path>
            </a:pathLst>
          </a:custGeom>
          <a:solidFill>
            <a:schemeClr val="bg1">
              <a:lumMod val="95000"/>
            </a:schemeClr>
          </a:solid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noAutofit/>
          </a:bodyPr>
          <a:lstStyle/>
          <a:p>
            <a:pPr lvl="0" algn="ctr">
              <a:defRPr/>
            </a:pPr>
            <a:r>
              <a:rPr lang="en-US" sz="1100" i="1" kern="0">
                <a:solidFill>
                  <a:schemeClr val="bg1">
                    <a:lumMod val="50000"/>
                  </a:schemeClr>
                </a:solidFill>
                <a:latin typeface="Verdana" panose="020B0604030504040204" pitchFamily="34" charset="0"/>
                <a:ea typeface="Verdana" panose="020B0604030504040204" pitchFamily="34" charset="0"/>
              </a:rPr>
              <a:t>Drop here</a:t>
            </a:r>
          </a:p>
          <a:p>
            <a:pPr algn="ctr">
              <a:defRPr/>
            </a:pPr>
            <a:r>
              <a:rPr lang="en-US" sz="1100" i="1" kern="0">
                <a:solidFill>
                  <a:schemeClr val="bg1">
                    <a:lumMod val="50000"/>
                  </a:schemeClr>
                </a:solidFill>
                <a:latin typeface="Verdana" panose="020B0604030504040204" pitchFamily="34" charset="0"/>
                <a:ea typeface="Verdana" panose="020B0604030504040204" pitchFamily="34" charset="0"/>
              </a:rPr>
              <a:t>Nº 3</a:t>
            </a:r>
          </a:p>
        </p:txBody>
      </p:sp>
      <p:sp>
        <p:nvSpPr>
          <p:cNvPr id="31" name="Freeform 5"/>
          <p:cNvSpPr>
            <a:spLocks/>
          </p:cNvSpPr>
          <p:nvPr/>
        </p:nvSpPr>
        <p:spPr>
          <a:xfrm>
            <a:off x="5941968" y="5267524"/>
            <a:ext cx="1260000" cy="1087022"/>
          </a:xfrm>
          <a:custGeom>
            <a:avLst/>
            <a:gdLst>
              <a:gd name="connsiteX0" fmla="*/ 1552073 w 6244389"/>
              <a:gd name="connsiteY0" fmla="*/ 0 h 5426243"/>
              <a:gd name="connsiteX1" fmla="*/ 4704347 w 6244389"/>
              <a:gd name="connsiteY1" fmla="*/ 12032 h 5426243"/>
              <a:gd name="connsiteX2" fmla="*/ 6244389 w 6244389"/>
              <a:gd name="connsiteY2" fmla="*/ 2755232 h 5426243"/>
              <a:gd name="connsiteX3" fmla="*/ 4704347 w 6244389"/>
              <a:gd name="connsiteY3" fmla="*/ 5414211 h 5426243"/>
              <a:gd name="connsiteX4" fmla="*/ 1564105 w 6244389"/>
              <a:gd name="connsiteY4" fmla="*/ 5426243 h 5426243"/>
              <a:gd name="connsiteX5" fmla="*/ 0 w 6244389"/>
              <a:gd name="connsiteY5" fmla="*/ 2731169 h 5426243"/>
              <a:gd name="connsiteX6" fmla="*/ 1552073 w 6244389"/>
              <a:gd name="connsiteY6" fmla="*/ 0 h 54262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4389" h="5426243">
                <a:moveTo>
                  <a:pt x="1552073" y="0"/>
                </a:moveTo>
                <a:lnTo>
                  <a:pt x="4704347" y="12032"/>
                </a:lnTo>
                <a:lnTo>
                  <a:pt x="6244389" y="2755232"/>
                </a:lnTo>
                <a:lnTo>
                  <a:pt x="4704347" y="5414211"/>
                </a:lnTo>
                <a:lnTo>
                  <a:pt x="1564105" y="5426243"/>
                </a:lnTo>
                <a:lnTo>
                  <a:pt x="0" y="2731169"/>
                </a:lnTo>
                <a:lnTo>
                  <a:pt x="1552073" y="0"/>
                </a:lnTo>
                <a:close/>
              </a:path>
            </a:pathLst>
          </a:custGeom>
          <a:solidFill>
            <a:schemeClr val="bg1">
              <a:lumMod val="95000"/>
            </a:schemeClr>
          </a:solid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noAutofit/>
          </a:bodyPr>
          <a:lstStyle/>
          <a:p>
            <a:pPr lvl="0" algn="ctr">
              <a:defRPr/>
            </a:pPr>
            <a:r>
              <a:rPr lang="en-US" sz="1100" i="1" kern="0">
                <a:solidFill>
                  <a:schemeClr val="bg1">
                    <a:lumMod val="50000"/>
                  </a:schemeClr>
                </a:solidFill>
                <a:latin typeface="Verdana" panose="020B0604030504040204" pitchFamily="34" charset="0"/>
                <a:ea typeface="Verdana" panose="020B0604030504040204" pitchFamily="34" charset="0"/>
              </a:rPr>
              <a:t>Drop here</a:t>
            </a:r>
          </a:p>
          <a:p>
            <a:pPr algn="ctr">
              <a:defRPr/>
            </a:pPr>
            <a:r>
              <a:rPr lang="en-US" sz="1100" i="1" kern="0">
                <a:solidFill>
                  <a:schemeClr val="bg1">
                    <a:lumMod val="50000"/>
                  </a:schemeClr>
                </a:solidFill>
                <a:latin typeface="Verdana" panose="020B0604030504040204" pitchFamily="34" charset="0"/>
                <a:ea typeface="Verdana" panose="020B0604030504040204" pitchFamily="34" charset="0"/>
              </a:rPr>
              <a:t>Nº 4</a:t>
            </a:r>
          </a:p>
        </p:txBody>
      </p:sp>
      <p:sp>
        <p:nvSpPr>
          <p:cNvPr id="32" name="Freeform 5"/>
          <p:cNvSpPr>
            <a:spLocks/>
          </p:cNvSpPr>
          <p:nvPr/>
        </p:nvSpPr>
        <p:spPr>
          <a:xfrm>
            <a:off x="6930735" y="4697033"/>
            <a:ext cx="1260000" cy="1087022"/>
          </a:xfrm>
          <a:custGeom>
            <a:avLst/>
            <a:gdLst>
              <a:gd name="connsiteX0" fmla="*/ 1552073 w 6244389"/>
              <a:gd name="connsiteY0" fmla="*/ 0 h 5426243"/>
              <a:gd name="connsiteX1" fmla="*/ 4704347 w 6244389"/>
              <a:gd name="connsiteY1" fmla="*/ 12032 h 5426243"/>
              <a:gd name="connsiteX2" fmla="*/ 6244389 w 6244389"/>
              <a:gd name="connsiteY2" fmla="*/ 2755232 h 5426243"/>
              <a:gd name="connsiteX3" fmla="*/ 4704347 w 6244389"/>
              <a:gd name="connsiteY3" fmla="*/ 5414211 h 5426243"/>
              <a:gd name="connsiteX4" fmla="*/ 1564105 w 6244389"/>
              <a:gd name="connsiteY4" fmla="*/ 5426243 h 5426243"/>
              <a:gd name="connsiteX5" fmla="*/ 0 w 6244389"/>
              <a:gd name="connsiteY5" fmla="*/ 2731169 h 5426243"/>
              <a:gd name="connsiteX6" fmla="*/ 1552073 w 6244389"/>
              <a:gd name="connsiteY6" fmla="*/ 0 h 54262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4389" h="5426243">
                <a:moveTo>
                  <a:pt x="1552073" y="0"/>
                </a:moveTo>
                <a:lnTo>
                  <a:pt x="4704347" y="12032"/>
                </a:lnTo>
                <a:lnTo>
                  <a:pt x="6244389" y="2755232"/>
                </a:lnTo>
                <a:lnTo>
                  <a:pt x="4704347" y="5414211"/>
                </a:lnTo>
                <a:lnTo>
                  <a:pt x="1564105" y="5426243"/>
                </a:lnTo>
                <a:lnTo>
                  <a:pt x="0" y="2731169"/>
                </a:lnTo>
                <a:lnTo>
                  <a:pt x="1552073" y="0"/>
                </a:lnTo>
                <a:close/>
              </a:path>
            </a:pathLst>
          </a:custGeom>
          <a:solidFill>
            <a:schemeClr val="bg1">
              <a:lumMod val="95000"/>
            </a:schemeClr>
          </a:solid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noAutofit/>
          </a:bodyPr>
          <a:lstStyle/>
          <a:p>
            <a:pPr lvl="0" algn="ctr">
              <a:defRPr/>
            </a:pPr>
            <a:r>
              <a:rPr lang="en-US" sz="1100" i="1" kern="0">
                <a:solidFill>
                  <a:schemeClr val="bg1">
                    <a:lumMod val="50000"/>
                  </a:schemeClr>
                </a:solidFill>
                <a:latin typeface="Verdana" panose="020B0604030504040204" pitchFamily="34" charset="0"/>
                <a:ea typeface="Verdana" panose="020B0604030504040204" pitchFamily="34" charset="0"/>
              </a:rPr>
              <a:t>Drop here</a:t>
            </a:r>
          </a:p>
          <a:p>
            <a:pPr algn="ctr">
              <a:defRPr/>
            </a:pPr>
            <a:r>
              <a:rPr lang="en-US" sz="1100" i="1" kern="0">
                <a:solidFill>
                  <a:schemeClr val="bg1">
                    <a:lumMod val="50000"/>
                  </a:schemeClr>
                </a:solidFill>
                <a:latin typeface="Verdana" panose="020B0604030504040204" pitchFamily="34" charset="0"/>
                <a:ea typeface="Verdana" panose="020B0604030504040204" pitchFamily="34" charset="0"/>
              </a:rPr>
              <a:t>Nº 5</a:t>
            </a:r>
          </a:p>
        </p:txBody>
      </p:sp>
      <p:sp>
        <p:nvSpPr>
          <p:cNvPr id="33" name="Freeform 5"/>
          <p:cNvSpPr>
            <a:spLocks/>
          </p:cNvSpPr>
          <p:nvPr/>
        </p:nvSpPr>
        <p:spPr>
          <a:xfrm>
            <a:off x="7919502" y="5246821"/>
            <a:ext cx="1260000" cy="1087022"/>
          </a:xfrm>
          <a:custGeom>
            <a:avLst/>
            <a:gdLst>
              <a:gd name="connsiteX0" fmla="*/ 1552073 w 6244389"/>
              <a:gd name="connsiteY0" fmla="*/ 0 h 5426243"/>
              <a:gd name="connsiteX1" fmla="*/ 4704347 w 6244389"/>
              <a:gd name="connsiteY1" fmla="*/ 12032 h 5426243"/>
              <a:gd name="connsiteX2" fmla="*/ 6244389 w 6244389"/>
              <a:gd name="connsiteY2" fmla="*/ 2755232 h 5426243"/>
              <a:gd name="connsiteX3" fmla="*/ 4704347 w 6244389"/>
              <a:gd name="connsiteY3" fmla="*/ 5414211 h 5426243"/>
              <a:gd name="connsiteX4" fmla="*/ 1564105 w 6244389"/>
              <a:gd name="connsiteY4" fmla="*/ 5426243 h 5426243"/>
              <a:gd name="connsiteX5" fmla="*/ 0 w 6244389"/>
              <a:gd name="connsiteY5" fmla="*/ 2731169 h 5426243"/>
              <a:gd name="connsiteX6" fmla="*/ 1552073 w 6244389"/>
              <a:gd name="connsiteY6" fmla="*/ 0 h 54262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4389" h="5426243">
                <a:moveTo>
                  <a:pt x="1552073" y="0"/>
                </a:moveTo>
                <a:lnTo>
                  <a:pt x="4704347" y="12032"/>
                </a:lnTo>
                <a:lnTo>
                  <a:pt x="6244389" y="2755232"/>
                </a:lnTo>
                <a:lnTo>
                  <a:pt x="4704347" y="5414211"/>
                </a:lnTo>
                <a:lnTo>
                  <a:pt x="1564105" y="5426243"/>
                </a:lnTo>
                <a:lnTo>
                  <a:pt x="0" y="2731169"/>
                </a:lnTo>
                <a:lnTo>
                  <a:pt x="1552073" y="0"/>
                </a:lnTo>
                <a:close/>
              </a:path>
            </a:pathLst>
          </a:custGeom>
          <a:solidFill>
            <a:schemeClr val="bg1">
              <a:lumMod val="95000"/>
            </a:schemeClr>
          </a:solid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noAutofit/>
          </a:bodyPr>
          <a:lstStyle/>
          <a:p>
            <a:pPr lvl="0" algn="ctr">
              <a:defRPr/>
            </a:pPr>
            <a:r>
              <a:rPr lang="en-US" sz="1100" i="1" kern="0">
                <a:solidFill>
                  <a:schemeClr val="bg1">
                    <a:lumMod val="50000"/>
                  </a:schemeClr>
                </a:solidFill>
                <a:latin typeface="Verdana" panose="020B0604030504040204" pitchFamily="34" charset="0"/>
                <a:ea typeface="Verdana" panose="020B0604030504040204" pitchFamily="34" charset="0"/>
              </a:rPr>
              <a:t>Drop here</a:t>
            </a:r>
          </a:p>
          <a:p>
            <a:pPr algn="ctr">
              <a:defRPr/>
            </a:pPr>
            <a:r>
              <a:rPr lang="en-US" sz="1100" i="1" kern="0">
                <a:solidFill>
                  <a:schemeClr val="bg1">
                    <a:lumMod val="50000"/>
                  </a:schemeClr>
                </a:solidFill>
                <a:latin typeface="Verdana" panose="020B0604030504040204" pitchFamily="34" charset="0"/>
                <a:ea typeface="Verdana" panose="020B0604030504040204" pitchFamily="34" charset="0"/>
              </a:rPr>
              <a:t>Nº 6</a:t>
            </a:r>
          </a:p>
        </p:txBody>
      </p:sp>
      <p:sp>
        <p:nvSpPr>
          <p:cNvPr id="30" name="Freeform 3"/>
          <p:cNvSpPr>
            <a:spLocks/>
          </p:cNvSpPr>
          <p:nvPr/>
        </p:nvSpPr>
        <p:spPr>
          <a:xfrm>
            <a:off x="2723279" y="3306349"/>
            <a:ext cx="1260000" cy="1087022"/>
          </a:xfrm>
          <a:custGeom>
            <a:avLst/>
            <a:gdLst>
              <a:gd name="connsiteX0" fmla="*/ 1552073 w 6244389"/>
              <a:gd name="connsiteY0" fmla="*/ 0 h 5426243"/>
              <a:gd name="connsiteX1" fmla="*/ 4704347 w 6244389"/>
              <a:gd name="connsiteY1" fmla="*/ 12032 h 5426243"/>
              <a:gd name="connsiteX2" fmla="*/ 6244389 w 6244389"/>
              <a:gd name="connsiteY2" fmla="*/ 2755232 h 5426243"/>
              <a:gd name="connsiteX3" fmla="*/ 4704347 w 6244389"/>
              <a:gd name="connsiteY3" fmla="*/ 5414211 h 5426243"/>
              <a:gd name="connsiteX4" fmla="*/ 1564105 w 6244389"/>
              <a:gd name="connsiteY4" fmla="*/ 5426243 h 5426243"/>
              <a:gd name="connsiteX5" fmla="*/ 0 w 6244389"/>
              <a:gd name="connsiteY5" fmla="*/ 2731169 h 5426243"/>
              <a:gd name="connsiteX6" fmla="*/ 1552073 w 6244389"/>
              <a:gd name="connsiteY6" fmla="*/ 0 h 54262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4389" h="5426243">
                <a:moveTo>
                  <a:pt x="1552073" y="0"/>
                </a:moveTo>
                <a:lnTo>
                  <a:pt x="4704347" y="12032"/>
                </a:lnTo>
                <a:lnTo>
                  <a:pt x="6244389" y="2755232"/>
                </a:lnTo>
                <a:lnTo>
                  <a:pt x="4704347" y="5414211"/>
                </a:lnTo>
                <a:lnTo>
                  <a:pt x="1564105" y="5426243"/>
                </a:lnTo>
                <a:lnTo>
                  <a:pt x="0" y="2731169"/>
                </a:lnTo>
                <a:lnTo>
                  <a:pt x="1552073" y="0"/>
                </a:lnTo>
                <a:close/>
              </a:path>
            </a:pathLst>
          </a:cu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noAutofit/>
          </a:bodyPr>
          <a:lstStyle/>
          <a:p>
            <a:pPr lvl="0" algn="ctr">
              <a:defRPr/>
            </a:pPr>
            <a:r>
              <a:rPr lang="en-GB" sz="1100" kern="0">
                <a:solidFill>
                  <a:prstClr val="white"/>
                </a:solidFill>
                <a:latin typeface="Verdana" panose="020B0604030504040204" pitchFamily="34" charset="0"/>
                <a:ea typeface="Verdana" panose="020B0604030504040204" pitchFamily="34" charset="0"/>
              </a:rPr>
              <a:t>Fill in the details of the sponsor organisation</a:t>
            </a:r>
            <a:endParaRPr kumimoji="0" lang="en-US" sz="1100" b="0" i="0" u="none" strike="noStrike" kern="0" cap="none" spc="0" normalizeH="0" baseline="0" noProof="0">
              <a:ln>
                <a:noFill/>
              </a:ln>
              <a:solidFill>
                <a:prstClr val="white"/>
              </a:solidFill>
              <a:effectLst/>
              <a:uLnTx/>
              <a:uFillTx/>
              <a:latin typeface="Verdana" panose="020B0604030504040204" pitchFamily="34" charset="0"/>
              <a:ea typeface="Verdana" panose="020B0604030504040204" pitchFamily="34" charset="0"/>
            </a:endParaRPr>
          </a:p>
        </p:txBody>
      </p:sp>
      <p:sp>
        <p:nvSpPr>
          <p:cNvPr id="35" name="Freeform 34"/>
          <p:cNvSpPr>
            <a:spLocks/>
          </p:cNvSpPr>
          <p:nvPr/>
        </p:nvSpPr>
        <p:spPr>
          <a:xfrm>
            <a:off x="6874571" y="3332785"/>
            <a:ext cx="1260000" cy="1087022"/>
          </a:xfrm>
          <a:custGeom>
            <a:avLst/>
            <a:gdLst>
              <a:gd name="connsiteX0" fmla="*/ 1552073 w 6244389"/>
              <a:gd name="connsiteY0" fmla="*/ 0 h 5426243"/>
              <a:gd name="connsiteX1" fmla="*/ 4704347 w 6244389"/>
              <a:gd name="connsiteY1" fmla="*/ 12032 h 5426243"/>
              <a:gd name="connsiteX2" fmla="*/ 6244389 w 6244389"/>
              <a:gd name="connsiteY2" fmla="*/ 2755232 h 5426243"/>
              <a:gd name="connsiteX3" fmla="*/ 4704347 w 6244389"/>
              <a:gd name="connsiteY3" fmla="*/ 5414211 h 5426243"/>
              <a:gd name="connsiteX4" fmla="*/ 1564105 w 6244389"/>
              <a:gd name="connsiteY4" fmla="*/ 5426243 h 5426243"/>
              <a:gd name="connsiteX5" fmla="*/ 0 w 6244389"/>
              <a:gd name="connsiteY5" fmla="*/ 2731169 h 5426243"/>
              <a:gd name="connsiteX6" fmla="*/ 1552073 w 6244389"/>
              <a:gd name="connsiteY6" fmla="*/ 0 h 54262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4389" h="5426243">
                <a:moveTo>
                  <a:pt x="1552073" y="0"/>
                </a:moveTo>
                <a:lnTo>
                  <a:pt x="4704347" y="12032"/>
                </a:lnTo>
                <a:lnTo>
                  <a:pt x="6244389" y="2755232"/>
                </a:lnTo>
                <a:lnTo>
                  <a:pt x="4704347" y="5414211"/>
                </a:lnTo>
                <a:lnTo>
                  <a:pt x="1564105" y="5426243"/>
                </a:lnTo>
                <a:lnTo>
                  <a:pt x="0" y="2731169"/>
                </a:lnTo>
                <a:lnTo>
                  <a:pt x="1552073" y="0"/>
                </a:lnTo>
                <a:close/>
              </a:path>
            </a:pathLst>
          </a:custGeom>
          <a:solidFill>
            <a:srgbClr val="ED7D3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noAutofit/>
          </a:bodyPr>
          <a:lstStyle/>
          <a:p>
            <a:pPr algn="ctr"/>
            <a:r>
              <a:rPr lang="en-GB" sz="1100" kern="0">
                <a:solidFill>
                  <a:prstClr val="white"/>
                </a:solidFill>
                <a:latin typeface="Verdana" panose="020B0604030504040204" pitchFamily="34" charset="0"/>
                <a:ea typeface="Verdana" panose="020B0604030504040204" pitchFamily="34" charset="0"/>
              </a:rPr>
              <a:t>Submit the ASR form</a:t>
            </a:r>
            <a:endParaRPr lang="en-US" sz="1100" kern="0">
              <a:solidFill>
                <a:prstClr val="white"/>
              </a:solidFill>
              <a:latin typeface="Verdana" panose="020B0604030504040204" pitchFamily="34" charset="0"/>
              <a:ea typeface="Verdana" panose="020B0604030504040204" pitchFamily="34" charset="0"/>
            </a:endParaRPr>
          </a:p>
        </p:txBody>
      </p:sp>
      <p:sp>
        <p:nvSpPr>
          <p:cNvPr id="58" name="Freeform 3 - 1"/>
          <p:cNvSpPr>
            <a:spLocks/>
          </p:cNvSpPr>
          <p:nvPr/>
        </p:nvSpPr>
        <p:spPr>
          <a:xfrm>
            <a:off x="8016766" y="2565751"/>
            <a:ext cx="1260000" cy="1087022"/>
          </a:xfrm>
          <a:custGeom>
            <a:avLst/>
            <a:gdLst>
              <a:gd name="connsiteX0" fmla="*/ 1552073 w 6244389"/>
              <a:gd name="connsiteY0" fmla="*/ 0 h 5426243"/>
              <a:gd name="connsiteX1" fmla="*/ 4704347 w 6244389"/>
              <a:gd name="connsiteY1" fmla="*/ 12032 h 5426243"/>
              <a:gd name="connsiteX2" fmla="*/ 6244389 w 6244389"/>
              <a:gd name="connsiteY2" fmla="*/ 2755232 h 5426243"/>
              <a:gd name="connsiteX3" fmla="*/ 4704347 w 6244389"/>
              <a:gd name="connsiteY3" fmla="*/ 5414211 h 5426243"/>
              <a:gd name="connsiteX4" fmla="*/ 1564105 w 6244389"/>
              <a:gd name="connsiteY4" fmla="*/ 5426243 h 5426243"/>
              <a:gd name="connsiteX5" fmla="*/ 0 w 6244389"/>
              <a:gd name="connsiteY5" fmla="*/ 2731169 h 5426243"/>
              <a:gd name="connsiteX6" fmla="*/ 1552073 w 6244389"/>
              <a:gd name="connsiteY6" fmla="*/ 0 h 54262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4389" h="5426243">
                <a:moveTo>
                  <a:pt x="1552073" y="0"/>
                </a:moveTo>
                <a:lnTo>
                  <a:pt x="4704347" y="12032"/>
                </a:lnTo>
                <a:lnTo>
                  <a:pt x="6244389" y="2755232"/>
                </a:lnTo>
                <a:lnTo>
                  <a:pt x="4704347" y="5414211"/>
                </a:lnTo>
                <a:lnTo>
                  <a:pt x="1564105" y="5426243"/>
                </a:lnTo>
                <a:lnTo>
                  <a:pt x="0" y="2731169"/>
                </a:lnTo>
                <a:lnTo>
                  <a:pt x="1552073" y="0"/>
                </a:lnTo>
                <a:close/>
              </a:path>
            </a:pathLst>
          </a:cu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noAutofit/>
          </a:bodyPr>
          <a:lstStyle/>
          <a:p>
            <a:pPr algn="ctr"/>
            <a:r>
              <a:rPr lang="en-GB" sz="1100" kern="0">
                <a:solidFill>
                  <a:prstClr val="white"/>
                </a:solidFill>
                <a:latin typeface="Verdana" panose="020B0604030504040204" pitchFamily="34" charset="0"/>
                <a:ea typeface="Verdana" panose="020B0604030504040204" pitchFamily="34" charset="0"/>
              </a:rPr>
              <a:t>Fill in the details of the ASR reporting period</a:t>
            </a:r>
          </a:p>
        </p:txBody>
      </p:sp>
      <p:sp>
        <p:nvSpPr>
          <p:cNvPr id="59" name="Freeform 58"/>
          <p:cNvSpPr>
            <a:spLocks/>
          </p:cNvSpPr>
          <p:nvPr/>
        </p:nvSpPr>
        <p:spPr>
          <a:xfrm>
            <a:off x="4798925" y="3331749"/>
            <a:ext cx="1260000" cy="1087022"/>
          </a:xfrm>
          <a:custGeom>
            <a:avLst/>
            <a:gdLst>
              <a:gd name="connsiteX0" fmla="*/ 1552073 w 6244389"/>
              <a:gd name="connsiteY0" fmla="*/ 0 h 5426243"/>
              <a:gd name="connsiteX1" fmla="*/ 4704347 w 6244389"/>
              <a:gd name="connsiteY1" fmla="*/ 12032 h 5426243"/>
              <a:gd name="connsiteX2" fmla="*/ 6244389 w 6244389"/>
              <a:gd name="connsiteY2" fmla="*/ 2755232 h 5426243"/>
              <a:gd name="connsiteX3" fmla="*/ 4704347 w 6244389"/>
              <a:gd name="connsiteY3" fmla="*/ 5414211 h 5426243"/>
              <a:gd name="connsiteX4" fmla="*/ 1564105 w 6244389"/>
              <a:gd name="connsiteY4" fmla="*/ 5426243 h 5426243"/>
              <a:gd name="connsiteX5" fmla="*/ 0 w 6244389"/>
              <a:gd name="connsiteY5" fmla="*/ 2731169 h 5426243"/>
              <a:gd name="connsiteX6" fmla="*/ 1552073 w 6244389"/>
              <a:gd name="connsiteY6" fmla="*/ 0 h 54262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4389" h="5426243">
                <a:moveTo>
                  <a:pt x="1552073" y="0"/>
                </a:moveTo>
                <a:lnTo>
                  <a:pt x="4704347" y="12032"/>
                </a:lnTo>
                <a:lnTo>
                  <a:pt x="6244389" y="2755232"/>
                </a:lnTo>
                <a:lnTo>
                  <a:pt x="4704347" y="5414211"/>
                </a:lnTo>
                <a:lnTo>
                  <a:pt x="1564105" y="5426243"/>
                </a:lnTo>
                <a:lnTo>
                  <a:pt x="0" y="2731169"/>
                </a:lnTo>
                <a:lnTo>
                  <a:pt x="1552073" y="0"/>
                </a:lnTo>
                <a:close/>
              </a:path>
            </a:pathLst>
          </a:cu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noAutofit/>
          </a:bodyPr>
          <a:lstStyle/>
          <a:p>
            <a:pPr algn="ctr"/>
            <a:r>
              <a:rPr lang="en-US" sz="1100" kern="0">
                <a:solidFill>
                  <a:prstClr val="white"/>
                </a:solidFill>
                <a:latin typeface="Verdana" panose="020B0604030504040204" pitchFamily="34" charset="0"/>
                <a:ea typeface="Verdana" panose="020B0604030504040204" pitchFamily="34" charset="0"/>
              </a:rPr>
              <a:t>Create an ASR form</a:t>
            </a:r>
          </a:p>
        </p:txBody>
      </p:sp>
      <p:sp>
        <p:nvSpPr>
          <p:cNvPr id="60" name="Freeform 5 - 1"/>
          <p:cNvSpPr>
            <a:spLocks/>
          </p:cNvSpPr>
          <p:nvPr/>
        </p:nvSpPr>
        <p:spPr>
          <a:xfrm>
            <a:off x="3761102" y="2565751"/>
            <a:ext cx="1260000" cy="1087022"/>
          </a:xfrm>
          <a:custGeom>
            <a:avLst/>
            <a:gdLst>
              <a:gd name="connsiteX0" fmla="*/ 1552073 w 6244389"/>
              <a:gd name="connsiteY0" fmla="*/ 0 h 5426243"/>
              <a:gd name="connsiteX1" fmla="*/ 4704347 w 6244389"/>
              <a:gd name="connsiteY1" fmla="*/ 12032 h 5426243"/>
              <a:gd name="connsiteX2" fmla="*/ 6244389 w 6244389"/>
              <a:gd name="connsiteY2" fmla="*/ 2755232 h 5426243"/>
              <a:gd name="connsiteX3" fmla="*/ 4704347 w 6244389"/>
              <a:gd name="connsiteY3" fmla="*/ 5414211 h 5426243"/>
              <a:gd name="connsiteX4" fmla="*/ 1564105 w 6244389"/>
              <a:gd name="connsiteY4" fmla="*/ 5426243 h 5426243"/>
              <a:gd name="connsiteX5" fmla="*/ 0 w 6244389"/>
              <a:gd name="connsiteY5" fmla="*/ 2731169 h 5426243"/>
              <a:gd name="connsiteX6" fmla="*/ 1552073 w 6244389"/>
              <a:gd name="connsiteY6" fmla="*/ 0 h 54262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4389" h="5426243">
                <a:moveTo>
                  <a:pt x="1552073" y="0"/>
                </a:moveTo>
                <a:lnTo>
                  <a:pt x="4704347" y="12032"/>
                </a:lnTo>
                <a:lnTo>
                  <a:pt x="6244389" y="2755232"/>
                </a:lnTo>
                <a:lnTo>
                  <a:pt x="4704347" y="5414211"/>
                </a:lnTo>
                <a:lnTo>
                  <a:pt x="1564105" y="5426243"/>
                </a:lnTo>
                <a:lnTo>
                  <a:pt x="0" y="2731169"/>
                </a:lnTo>
                <a:lnTo>
                  <a:pt x="1552073" y="0"/>
                </a:lnTo>
                <a:close/>
              </a:path>
            </a:pathLst>
          </a:cu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noAutofit/>
          </a:bodyPr>
          <a:lstStyle/>
          <a:p>
            <a:pPr algn="ctr"/>
            <a:r>
              <a:rPr lang="en-GB" sz="1100" kern="0">
                <a:solidFill>
                  <a:prstClr val="white"/>
                </a:solidFill>
                <a:latin typeface="Verdana" panose="020B0604030504040204" pitchFamily="34" charset="0"/>
                <a:ea typeface="Verdana" panose="020B0604030504040204" pitchFamily="34" charset="0"/>
              </a:rPr>
              <a:t>Upload </a:t>
            </a:r>
          </a:p>
          <a:p>
            <a:pPr algn="ctr"/>
            <a:r>
              <a:rPr lang="en-GB" sz="1100" kern="0">
                <a:solidFill>
                  <a:prstClr val="white"/>
                </a:solidFill>
                <a:latin typeface="Verdana" panose="020B0604030504040204" pitchFamily="34" charset="0"/>
                <a:ea typeface="Verdana" panose="020B0604030504040204" pitchFamily="34" charset="0"/>
              </a:rPr>
              <a:t>the ASR document and supporting documents</a:t>
            </a:r>
            <a:endParaRPr lang="en-US" sz="1100" kern="0">
              <a:solidFill>
                <a:prstClr val="white"/>
              </a:solidFill>
              <a:latin typeface="Verdana" panose="020B0604030504040204" pitchFamily="34" charset="0"/>
              <a:ea typeface="Verdana" panose="020B0604030504040204" pitchFamily="34" charset="0"/>
            </a:endParaRPr>
          </a:p>
        </p:txBody>
      </p:sp>
      <p:sp>
        <p:nvSpPr>
          <p:cNvPr id="61" name="Freeform 60"/>
          <p:cNvSpPr>
            <a:spLocks/>
          </p:cNvSpPr>
          <p:nvPr/>
        </p:nvSpPr>
        <p:spPr>
          <a:xfrm>
            <a:off x="5836748" y="2567684"/>
            <a:ext cx="1260000" cy="1087022"/>
          </a:xfrm>
          <a:custGeom>
            <a:avLst/>
            <a:gdLst>
              <a:gd name="connsiteX0" fmla="*/ 1552073 w 6244389"/>
              <a:gd name="connsiteY0" fmla="*/ 0 h 5426243"/>
              <a:gd name="connsiteX1" fmla="*/ 4704347 w 6244389"/>
              <a:gd name="connsiteY1" fmla="*/ 12032 h 5426243"/>
              <a:gd name="connsiteX2" fmla="*/ 6244389 w 6244389"/>
              <a:gd name="connsiteY2" fmla="*/ 2755232 h 5426243"/>
              <a:gd name="connsiteX3" fmla="*/ 4704347 w 6244389"/>
              <a:gd name="connsiteY3" fmla="*/ 5414211 h 5426243"/>
              <a:gd name="connsiteX4" fmla="*/ 1564105 w 6244389"/>
              <a:gd name="connsiteY4" fmla="*/ 5426243 h 5426243"/>
              <a:gd name="connsiteX5" fmla="*/ 0 w 6244389"/>
              <a:gd name="connsiteY5" fmla="*/ 2731169 h 5426243"/>
              <a:gd name="connsiteX6" fmla="*/ 1552073 w 6244389"/>
              <a:gd name="connsiteY6" fmla="*/ 0 h 54262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4389" h="5426243">
                <a:moveTo>
                  <a:pt x="1552073" y="0"/>
                </a:moveTo>
                <a:lnTo>
                  <a:pt x="4704347" y="12032"/>
                </a:lnTo>
                <a:lnTo>
                  <a:pt x="6244389" y="2755232"/>
                </a:lnTo>
                <a:lnTo>
                  <a:pt x="4704347" y="5414211"/>
                </a:lnTo>
                <a:lnTo>
                  <a:pt x="1564105" y="5426243"/>
                </a:lnTo>
                <a:lnTo>
                  <a:pt x="0" y="2731169"/>
                </a:lnTo>
                <a:lnTo>
                  <a:pt x="1552073" y="0"/>
                </a:lnTo>
                <a:close/>
              </a:path>
            </a:pathLst>
          </a:custGeom>
          <a:solidFill>
            <a:srgbClr val="ED7D3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noAutofit/>
          </a:bodyPr>
          <a:lstStyle/>
          <a:p>
            <a:pPr algn="ctr"/>
            <a:r>
              <a:rPr lang="en-GB" sz="1100" kern="0">
                <a:solidFill>
                  <a:prstClr val="white"/>
                </a:solidFill>
                <a:latin typeface="Verdana" panose="020B0604030504040204" pitchFamily="34" charset="0"/>
                <a:ea typeface="Verdana" panose="020B0604030504040204" pitchFamily="34" charset="0"/>
              </a:rPr>
              <a:t>Fill in the details of the clinical trial</a:t>
            </a:r>
          </a:p>
        </p:txBody>
      </p:sp>
      <p:sp>
        <p:nvSpPr>
          <p:cNvPr id="37" name="Rounded Rectangle 61"/>
          <p:cNvSpPr/>
          <p:nvPr/>
        </p:nvSpPr>
        <p:spPr>
          <a:xfrm>
            <a:off x="1874495" y="4947663"/>
            <a:ext cx="1219683" cy="639724"/>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a:solidFill>
                  <a:schemeClr val="tx1"/>
                </a:solidFill>
                <a:latin typeface="Verdana" panose="020B0604030504040204" pitchFamily="34" charset="0"/>
                <a:ea typeface="Verdana" panose="020B0604030504040204" pitchFamily="34" charset="0"/>
              </a:rPr>
              <a:t>Solution:</a:t>
            </a:r>
          </a:p>
        </p:txBody>
      </p:sp>
      <p:sp>
        <p:nvSpPr>
          <p:cNvPr id="40" name="TextBox 17"/>
          <p:cNvSpPr txBox="1"/>
          <p:nvPr/>
        </p:nvSpPr>
        <p:spPr>
          <a:xfrm>
            <a:off x="887505" y="227053"/>
            <a:ext cx="6165909" cy="4001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0" cap="none" spc="0" normalizeH="0" baseline="0" noProof="0" dirty="0">
                <a:ln>
                  <a:noFill/>
                </a:ln>
                <a:solidFill>
                  <a:srgbClr val="2DA2BF"/>
                </a:solidFill>
                <a:effectLst/>
                <a:uLnTx/>
                <a:uFillTx/>
                <a:latin typeface="Verdana" panose="020B0604030504040204" pitchFamily="34" charset="0"/>
                <a:ea typeface="Verdana" panose="020B0604030504040204" pitchFamily="34" charset="0"/>
              </a:rPr>
              <a:t>Order the pieces of the process puzzle</a:t>
            </a:r>
          </a:p>
        </p:txBody>
      </p:sp>
      <p:grpSp>
        <p:nvGrpSpPr>
          <p:cNvPr id="49" name="Group 3"/>
          <p:cNvGrpSpPr/>
          <p:nvPr/>
        </p:nvGrpSpPr>
        <p:grpSpPr>
          <a:xfrm>
            <a:off x="10804490" y="227053"/>
            <a:ext cx="1033401" cy="1001877"/>
            <a:chOff x="10694194" y="1663959"/>
            <a:chExt cx="773097" cy="772534"/>
          </a:xfrm>
        </p:grpSpPr>
        <p:sp>
          <p:nvSpPr>
            <p:cNvPr id="50" name="Freeform 3"/>
            <p:cNvSpPr>
              <a:spLocks noChangeAspect="1"/>
            </p:cNvSpPr>
            <p:nvPr/>
          </p:nvSpPr>
          <p:spPr>
            <a:xfrm>
              <a:off x="10806092" y="1681802"/>
              <a:ext cx="617489" cy="536585"/>
            </a:xfrm>
            <a:custGeom>
              <a:avLst/>
              <a:gdLst>
                <a:gd name="connsiteX0" fmla="*/ 1552073 w 6244389"/>
                <a:gd name="connsiteY0" fmla="*/ 0 h 5426243"/>
                <a:gd name="connsiteX1" fmla="*/ 4704347 w 6244389"/>
                <a:gd name="connsiteY1" fmla="*/ 12032 h 5426243"/>
                <a:gd name="connsiteX2" fmla="*/ 6244389 w 6244389"/>
                <a:gd name="connsiteY2" fmla="*/ 2755232 h 5426243"/>
                <a:gd name="connsiteX3" fmla="*/ 4704347 w 6244389"/>
                <a:gd name="connsiteY3" fmla="*/ 5414211 h 5426243"/>
                <a:gd name="connsiteX4" fmla="*/ 1564105 w 6244389"/>
                <a:gd name="connsiteY4" fmla="*/ 5426243 h 5426243"/>
                <a:gd name="connsiteX5" fmla="*/ 0 w 6244389"/>
                <a:gd name="connsiteY5" fmla="*/ 2731169 h 5426243"/>
                <a:gd name="connsiteX6" fmla="*/ 1552073 w 6244389"/>
                <a:gd name="connsiteY6" fmla="*/ 0 h 54262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4389" h="5426243">
                  <a:moveTo>
                    <a:pt x="1552073" y="0"/>
                  </a:moveTo>
                  <a:lnTo>
                    <a:pt x="4704347" y="12032"/>
                  </a:lnTo>
                  <a:lnTo>
                    <a:pt x="6244389" y="2755232"/>
                  </a:lnTo>
                  <a:lnTo>
                    <a:pt x="4704347" y="5414211"/>
                  </a:lnTo>
                  <a:lnTo>
                    <a:pt x="1564105" y="5426243"/>
                  </a:lnTo>
                  <a:lnTo>
                    <a:pt x="0" y="2731169"/>
                  </a:lnTo>
                  <a:lnTo>
                    <a:pt x="1552073" y="0"/>
                  </a:lnTo>
                  <a:close/>
                </a:path>
              </a:pathLst>
            </a:custGeom>
            <a:solidFill>
              <a:srgbClr val="003399"/>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600" kern="0">
                <a:solidFill>
                  <a:prstClr val="white"/>
                </a:solidFill>
              </a:endParaRPr>
            </a:p>
          </p:txBody>
        </p:sp>
        <p:grpSp>
          <p:nvGrpSpPr>
            <p:cNvPr id="52" name="Cursor2" descr="{&quot;Key&quot;:&quot;POWER_USER_SHAPE_ICON&quot;,&quot;Value&quot;:&quot;POWER_USER_SHAPE_ICON_STYLE_1&quot;}">
              <a:extLst>
                <a:ext uri="{FF2B5EF4-FFF2-40B4-BE49-F238E27FC236}">
                  <a16:creationId xmlns:a16="http://schemas.microsoft.com/office/drawing/2014/main" id="{3A99E043-5C29-40D3-BAC0-3D7E56091529}"/>
                </a:ext>
              </a:extLst>
            </p:cNvPr>
            <p:cNvGrpSpPr>
              <a:grpSpLocks noChangeAspect="1"/>
            </p:cNvGrpSpPr>
            <p:nvPr>
              <p:custDataLst>
                <p:tags r:id="rId2"/>
              </p:custDataLst>
            </p:nvPr>
          </p:nvGrpSpPr>
          <p:grpSpPr bwMode="auto">
            <a:xfrm>
              <a:off x="10694194" y="1663959"/>
              <a:ext cx="395728" cy="395728"/>
              <a:chOff x="3747" y="175"/>
              <a:chExt cx="175" cy="175"/>
            </a:xfrm>
            <a:solidFill>
              <a:schemeClr val="bg1"/>
            </a:solidFill>
          </p:grpSpPr>
          <p:sp>
            <p:nvSpPr>
              <p:cNvPr id="54" name="Freeform 27">
                <a:extLst>
                  <a:ext uri="{FF2B5EF4-FFF2-40B4-BE49-F238E27FC236}">
                    <a16:creationId xmlns:a16="http://schemas.microsoft.com/office/drawing/2014/main" id="{20541D53-BD8A-4834-9FB1-2BA9A4807DDB}"/>
                  </a:ext>
                </a:extLst>
              </p:cNvPr>
              <p:cNvSpPr>
                <a:spLocks/>
              </p:cNvSpPr>
              <p:nvPr/>
            </p:nvSpPr>
            <p:spPr bwMode="auto">
              <a:xfrm>
                <a:off x="3747" y="175"/>
                <a:ext cx="175" cy="175"/>
              </a:xfrm>
              <a:custGeom>
                <a:avLst/>
                <a:gdLst>
                  <a:gd name="T0" fmla="*/ 300 w 363"/>
                  <a:gd name="T1" fmla="*/ 250 h 363"/>
                  <a:gd name="T2" fmla="*/ 275 w 363"/>
                  <a:gd name="T3" fmla="*/ 225 h 363"/>
                  <a:gd name="T4" fmla="*/ 300 w 363"/>
                  <a:gd name="T5" fmla="*/ 200 h 363"/>
                  <a:gd name="T6" fmla="*/ 200 w 363"/>
                  <a:gd name="T7" fmla="*/ 200 h 363"/>
                  <a:gd name="T8" fmla="*/ 200 w 363"/>
                  <a:gd name="T9" fmla="*/ 300 h 363"/>
                  <a:gd name="T10" fmla="*/ 225 w 363"/>
                  <a:gd name="T11" fmla="*/ 275 h 363"/>
                  <a:gd name="T12" fmla="*/ 250 w 363"/>
                  <a:gd name="T13" fmla="*/ 300 h 363"/>
                  <a:gd name="T14" fmla="*/ 188 w 363"/>
                  <a:gd name="T15" fmla="*/ 363 h 363"/>
                  <a:gd name="T16" fmla="*/ 175 w 363"/>
                  <a:gd name="T17" fmla="*/ 363 h 363"/>
                  <a:gd name="T18" fmla="*/ 113 w 363"/>
                  <a:gd name="T19" fmla="*/ 300 h 363"/>
                  <a:gd name="T20" fmla="*/ 138 w 363"/>
                  <a:gd name="T21" fmla="*/ 275 h 363"/>
                  <a:gd name="T22" fmla="*/ 163 w 363"/>
                  <a:gd name="T23" fmla="*/ 300 h 363"/>
                  <a:gd name="T24" fmla="*/ 163 w 363"/>
                  <a:gd name="T25" fmla="*/ 200 h 363"/>
                  <a:gd name="T26" fmla="*/ 63 w 363"/>
                  <a:gd name="T27" fmla="*/ 200 h 363"/>
                  <a:gd name="T28" fmla="*/ 88 w 363"/>
                  <a:gd name="T29" fmla="*/ 225 h 363"/>
                  <a:gd name="T30" fmla="*/ 63 w 363"/>
                  <a:gd name="T31" fmla="*/ 250 h 363"/>
                  <a:gd name="T32" fmla="*/ 0 w 363"/>
                  <a:gd name="T33" fmla="*/ 188 h 363"/>
                  <a:gd name="T34" fmla="*/ 0 w 363"/>
                  <a:gd name="T35" fmla="*/ 175 h 363"/>
                  <a:gd name="T36" fmla="*/ 63 w 363"/>
                  <a:gd name="T37" fmla="*/ 113 h 363"/>
                  <a:gd name="T38" fmla="*/ 88 w 363"/>
                  <a:gd name="T39" fmla="*/ 138 h 363"/>
                  <a:gd name="T40" fmla="*/ 63 w 363"/>
                  <a:gd name="T41" fmla="*/ 163 h 363"/>
                  <a:gd name="T42" fmla="*/ 163 w 363"/>
                  <a:gd name="T43" fmla="*/ 163 h 363"/>
                  <a:gd name="T44" fmla="*/ 163 w 363"/>
                  <a:gd name="T45" fmla="*/ 63 h 363"/>
                  <a:gd name="T46" fmla="*/ 138 w 363"/>
                  <a:gd name="T47" fmla="*/ 88 h 363"/>
                  <a:gd name="T48" fmla="*/ 113 w 363"/>
                  <a:gd name="T49" fmla="*/ 63 h 363"/>
                  <a:gd name="T50" fmla="*/ 175 w 363"/>
                  <a:gd name="T51" fmla="*/ 0 h 363"/>
                  <a:gd name="T52" fmla="*/ 188 w 363"/>
                  <a:gd name="T53" fmla="*/ 0 h 363"/>
                  <a:gd name="T54" fmla="*/ 250 w 363"/>
                  <a:gd name="T55" fmla="*/ 63 h 363"/>
                  <a:gd name="T56" fmla="*/ 225 w 363"/>
                  <a:gd name="T57" fmla="*/ 88 h 363"/>
                  <a:gd name="T58" fmla="*/ 200 w 363"/>
                  <a:gd name="T59" fmla="*/ 63 h 363"/>
                  <a:gd name="T60" fmla="*/ 200 w 363"/>
                  <a:gd name="T61" fmla="*/ 163 h 363"/>
                  <a:gd name="T62" fmla="*/ 300 w 363"/>
                  <a:gd name="T63" fmla="*/ 163 h 363"/>
                  <a:gd name="T64" fmla="*/ 275 w 363"/>
                  <a:gd name="T65" fmla="*/ 138 h 363"/>
                  <a:gd name="T66" fmla="*/ 300 w 363"/>
                  <a:gd name="T67" fmla="*/ 113 h 363"/>
                  <a:gd name="T68" fmla="*/ 363 w 363"/>
                  <a:gd name="T69" fmla="*/ 175 h 363"/>
                  <a:gd name="T70" fmla="*/ 363 w 363"/>
                  <a:gd name="T71" fmla="*/ 188 h 363"/>
                  <a:gd name="T72" fmla="*/ 300 w 363"/>
                  <a:gd name="T73" fmla="*/ 250 h 3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63" h="363">
                    <a:moveTo>
                      <a:pt x="300" y="250"/>
                    </a:moveTo>
                    <a:lnTo>
                      <a:pt x="275" y="225"/>
                    </a:lnTo>
                    <a:lnTo>
                      <a:pt x="300" y="200"/>
                    </a:lnTo>
                    <a:lnTo>
                      <a:pt x="200" y="200"/>
                    </a:lnTo>
                    <a:lnTo>
                      <a:pt x="200" y="300"/>
                    </a:lnTo>
                    <a:lnTo>
                      <a:pt x="225" y="275"/>
                    </a:lnTo>
                    <a:lnTo>
                      <a:pt x="250" y="300"/>
                    </a:lnTo>
                    <a:lnTo>
                      <a:pt x="188" y="363"/>
                    </a:lnTo>
                    <a:lnTo>
                      <a:pt x="175" y="363"/>
                    </a:lnTo>
                    <a:lnTo>
                      <a:pt x="113" y="300"/>
                    </a:lnTo>
                    <a:lnTo>
                      <a:pt x="138" y="275"/>
                    </a:lnTo>
                    <a:lnTo>
                      <a:pt x="163" y="300"/>
                    </a:lnTo>
                    <a:lnTo>
                      <a:pt x="163" y="200"/>
                    </a:lnTo>
                    <a:lnTo>
                      <a:pt x="63" y="200"/>
                    </a:lnTo>
                    <a:lnTo>
                      <a:pt x="88" y="225"/>
                    </a:lnTo>
                    <a:lnTo>
                      <a:pt x="63" y="250"/>
                    </a:lnTo>
                    <a:lnTo>
                      <a:pt x="0" y="188"/>
                    </a:lnTo>
                    <a:lnTo>
                      <a:pt x="0" y="175"/>
                    </a:lnTo>
                    <a:lnTo>
                      <a:pt x="63" y="113"/>
                    </a:lnTo>
                    <a:lnTo>
                      <a:pt x="88" y="138"/>
                    </a:lnTo>
                    <a:lnTo>
                      <a:pt x="63" y="163"/>
                    </a:lnTo>
                    <a:lnTo>
                      <a:pt x="163" y="163"/>
                    </a:lnTo>
                    <a:lnTo>
                      <a:pt x="163" y="63"/>
                    </a:lnTo>
                    <a:lnTo>
                      <a:pt x="138" y="88"/>
                    </a:lnTo>
                    <a:lnTo>
                      <a:pt x="113" y="63"/>
                    </a:lnTo>
                    <a:lnTo>
                      <a:pt x="175" y="0"/>
                    </a:lnTo>
                    <a:lnTo>
                      <a:pt x="188" y="0"/>
                    </a:lnTo>
                    <a:lnTo>
                      <a:pt x="250" y="63"/>
                    </a:lnTo>
                    <a:lnTo>
                      <a:pt x="225" y="88"/>
                    </a:lnTo>
                    <a:lnTo>
                      <a:pt x="200" y="63"/>
                    </a:lnTo>
                    <a:lnTo>
                      <a:pt x="200" y="163"/>
                    </a:lnTo>
                    <a:lnTo>
                      <a:pt x="300" y="163"/>
                    </a:lnTo>
                    <a:lnTo>
                      <a:pt x="275" y="138"/>
                    </a:lnTo>
                    <a:lnTo>
                      <a:pt x="300" y="113"/>
                    </a:lnTo>
                    <a:lnTo>
                      <a:pt x="363" y="175"/>
                    </a:lnTo>
                    <a:lnTo>
                      <a:pt x="363" y="188"/>
                    </a:lnTo>
                    <a:lnTo>
                      <a:pt x="300" y="250"/>
                    </a:lnTo>
                    <a:close/>
                  </a:path>
                </a:pathLst>
              </a:custGeom>
              <a:grpFill/>
              <a:ln w="0">
                <a:solidFill>
                  <a:srgbClr val="003399"/>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5" name="Freeform 28">
                <a:extLst>
                  <a:ext uri="{FF2B5EF4-FFF2-40B4-BE49-F238E27FC236}">
                    <a16:creationId xmlns:a16="http://schemas.microsoft.com/office/drawing/2014/main" id="{93C90CD6-28D7-4854-A0A8-0E952458417E}"/>
                  </a:ext>
                </a:extLst>
              </p:cNvPr>
              <p:cNvSpPr>
                <a:spLocks/>
              </p:cNvSpPr>
              <p:nvPr/>
            </p:nvSpPr>
            <p:spPr bwMode="auto">
              <a:xfrm>
                <a:off x="3801" y="229"/>
                <a:ext cx="66" cy="66"/>
              </a:xfrm>
              <a:custGeom>
                <a:avLst/>
                <a:gdLst>
                  <a:gd name="T0" fmla="*/ 0 w 137"/>
                  <a:gd name="T1" fmla="*/ 50 h 137"/>
                  <a:gd name="T2" fmla="*/ 0 w 137"/>
                  <a:gd name="T3" fmla="*/ 87 h 137"/>
                  <a:gd name="T4" fmla="*/ 50 w 137"/>
                  <a:gd name="T5" fmla="*/ 87 h 137"/>
                  <a:gd name="T6" fmla="*/ 50 w 137"/>
                  <a:gd name="T7" fmla="*/ 137 h 137"/>
                  <a:gd name="T8" fmla="*/ 87 w 137"/>
                  <a:gd name="T9" fmla="*/ 137 h 137"/>
                  <a:gd name="T10" fmla="*/ 87 w 137"/>
                  <a:gd name="T11" fmla="*/ 87 h 137"/>
                  <a:gd name="T12" fmla="*/ 137 w 137"/>
                  <a:gd name="T13" fmla="*/ 87 h 137"/>
                  <a:gd name="T14" fmla="*/ 137 w 137"/>
                  <a:gd name="T15" fmla="*/ 50 h 137"/>
                  <a:gd name="T16" fmla="*/ 87 w 137"/>
                  <a:gd name="T17" fmla="*/ 50 h 137"/>
                  <a:gd name="T18" fmla="*/ 87 w 137"/>
                  <a:gd name="T19" fmla="*/ 0 h 137"/>
                  <a:gd name="T20" fmla="*/ 50 w 137"/>
                  <a:gd name="T21" fmla="*/ 0 h 137"/>
                  <a:gd name="T22" fmla="*/ 50 w 137"/>
                  <a:gd name="T23" fmla="*/ 50 h 137"/>
                  <a:gd name="T24" fmla="*/ 0 w 137"/>
                  <a:gd name="T25" fmla="*/ 50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37" h="137">
                    <a:moveTo>
                      <a:pt x="0" y="50"/>
                    </a:moveTo>
                    <a:lnTo>
                      <a:pt x="0" y="87"/>
                    </a:lnTo>
                    <a:lnTo>
                      <a:pt x="50" y="87"/>
                    </a:lnTo>
                    <a:lnTo>
                      <a:pt x="50" y="137"/>
                    </a:lnTo>
                    <a:lnTo>
                      <a:pt x="87" y="137"/>
                    </a:lnTo>
                    <a:lnTo>
                      <a:pt x="87" y="87"/>
                    </a:lnTo>
                    <a:lnTo>
                      <a:pt x="137" y="87"/>
                    </a:lnTo>
                    <a:lnTo>
                      <a:pt x="137" y="50"/>
                    </a:lnTo>
                    <a:lnTo>
                      <a:pt x="87" y="50"/>
                    </a:lnTo>
                    <a:lnTo>
                      <a:pt x="87" y="0"/>
                    </a:lnTo>
                    <a:lnTo>
                      <a:pt x="50" y="0"/>
                    </a:lnTo>
                    <a:lnTo>
                      <a:pt x="50" y="50"/>
                    </a:lnTo>
                    <a:lnTo>
                      <a:pt x="0" y="50"/>
                    </a:lnTo>
                    <a:close/>
                  </a:path>
                </a:pathLst>
              </a:custGeom>
              <a:grpFill/>
              <a:ln w="0">
                <a:solidFill>
                  <a:srgbClr val="003399"/>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53" name="Cursor" descr="{&quot;Key&quot;:&quot;POWER_USER_SHAPE_ICON&quot;,&quot;Value&quot;:&quot;POWER_USER_SHAPE_ICON_STYLE_1&quot;}"/>
            <p:cNvSpPr>
              <a:spLocks noChangeAspect="1"/>
            </p:cNvSpPr>
            <p:nvPr>
              <p:custDataLst>
                <p:tags r:id="rId3"/>
              </p:custDataLst>
            </p:nvPr>
          </p:nvSpPr>
          <p:spPr bwMode="auto">
            <a:xfrm flipH="1">
              <a:off x="11167390" y="1893568"/>
              <a:ext cx="299901" cy="542925"/>
            </a:xfrm>
            <a:custGeom>
              <a:avLst/>
              <a:gdLst>
                <a:gd name="T0" fmla="*/ 413 w 422"/>
                <a:gd name="T1" fmla="*/ 4 h 721"/>
                <a:gd name="T2" fmla="*/ 386 w 422"/>
                <a:gd name="T3" fmla="*/ 9 h 721"/>
                <a:gd name="T4" fmla="*/ 9 w 422"/>
                <a:gd name="T5" fmla="*/ 355 h 721"/>
                <a:gd name="T6" fmla="*/ 1 w 422"/>
                <a:gd name="T7" fmla="*/ 377 h 721"/>
                <a:gd name="T8" fmla="*/ 16 w 422"/>
                <a:gd name="T9" fmla="*/ 396 h 721"/>
                <a:gd name="T10" fmla="*/ 145 w 422"/>
                <a:gd name="T11" fmla="*/ 453 h 721"/>
                <a:gd name="T12" fmla="*/ 64 w 422"/>
                <a:gd name="T13" fmla="*/ 635 h 721"/>
                <a:gd name="T14" fmla="*/ 88 w 422"/>
                <a:gd name="T15" fmla="*/ 694 h 721"/>
                <a:gd name="T16" fmla="*/ 125 w 422"/>
                <a:gd name="T17" fmla="*/ 710 h 721"/>
                <a:gd name="T18" fmla="*/ 184 w 422"/>
                <a:gd name="T19" fmla="*/ 689 h 721"/>
                <a:gd name="T20" fmla="*/ 265 w 422"/>
                <a:gd name="T21" fmla="*/ 506 h 721"/>
                <a:gd name="T22" fmla="*/ 393 w 422"/>
                <a:gd name="T23" fmla="*/ 563 h 721"/>
                <a:gd name="T24" fmla="*/ 422 w 422"/>
                <a:gd name="T25" fmla="*/ 540 h 721"/>
                <a:gd name="T26" fmla="*/ 422 w 422"/>
                <a:gd name="T27" fmla="*/ 27 h 721"/>
                <a:gd name="T28" fmla="*/ 413 w 422"/>
                <a:gd name="T29" fmla="*/ 4 h 7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2" h="721">
                  <a:moveTo>
                    <a:pt x="413" y="4"/>
                  </a:moveTo>
                  <a:cubicBezTo>
                    <a:pt x="404" y="0"/>
                    <a:pt x="393" y="2"/>
                    <a:pt x="386" y="9"/>
                  </a:cubicBezTo>
                  <a:lnTo>
                    <a:pt x="9" y="355"/>
                  </a:lnTo>
                  <a:cubicBezTo>
                    <a:pt x="3" y="360"/>
                    <a:pt x="0" y="369"/>
                    <a:pt x="1" y="377"/>
                  </a:cubicBezTo>
                  <a:cubicBezTo>
                    <a:pt x="2" y="385"/>
                    <a:pt x="8" y="392"/>
                    <a:pt x="16" y="396"/>
                  </a:cubicBezTo>
                  <a:lnTo>
                    <a:pt x="145" y="453"/>
                  </a:lnTo>
                  <a:lnTo>
                    <a:pt x="64" y="635"/>
                  </a:lnTo>
                  <a:cubicBezTo>
                    <a:pt x="54" y="657"/>
                    <a:pt x="65" y="684"/>
                    <a:pt x="88" y="694"/>
                  </a:cubicBezTo>
                  <a:lnTo>
                    <a:pt x="125" y="710"/>
                  </a:lnTo>
                  <a:cubicBezTo>
                    <a:pt x="148" y="721"/>
                    <a:pt x="175" y="711"/>
                    <a:pt x="184" y="689"/>
                  </a:cubicBezTo>
                  <a:lnTo>
                    <a:pt x="265" y="506"/>
                  </a:lnTo>
                  <a:lnTo>
                    <a:pt x="393" y="563"/>
                  </a:lnTo>
                  <a:cubicBezTo>
                    <a:pt x="396" y="564"/>
                    <a:pt x="422" y="567"/>
                    <a:pt x="422" y="540"/>
                  </a:cubicBezTo>
                  <a:lnTo>
                    <a:pt x="422" y="27"/>
                  </a:lnTo>
                  <a:cubicBezTo>
                    <a:pt x="422" y="17"/>
                    <a:pt x="422" y="8"/>
                    <a:pt x="413" y="4"/>
                  </a:cubicBezTo>
                </a:path>
              </a:pathLst>
            </a:custGeom>
            <a:solidFill>
              <a:schemeClr val="bg1"/>
            </a:solidFill>
            <a:ln>
              <a:solidFill>
                <a:srgbClr val="003399"/>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39" name="Rounded Rectangle 38"/>
          <p:cNvSpPr/>
          <p:nvPr/>
        </p:nvSpPr>
        <p:spPr>
          <a:xfrm>
            <a:off x="982132" y="823498"/>
            <a:ext cx="2700000" cy="432808"/>
          </a:xfrm>
          <a:prstGeom prst="roundRect">
            <a:avLst/>
          </a:prstGeom>
          <a:solidFill>
            <a:srgbClr val="2DA2B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a:latin typeface="Verdana" panose="020B0604030504040204" pitchFamily="34" charset="0"/>
                <a:ea typeface="Verdana" panose="020B0604030504040204" pitchFamily="34" charset="0"/>
              </a:rPr>
              <a:t>Case scenario 1</a:t>
            </a:r>
          </a:p>
        </p:txBody>
      </p:sp>
      <p:sp>
        <p:nvSpPr>
          <p:cNvPr id="44" name="Rounded Rectangle 43"/>
          <p:cNvSpPr/>
          <p:nvPr/>
        </p:nvSpPr>
        <p:spPr>
          <a:xfrm>
            <a:off x="3757186" y="832481"/>
            <a:ext cx="2700000" cy="432808"/>
          </a:xfrm>
          <a:prstGeom prst="roundRect">
            <a:avLst/>
          </a:prstGeom>
          <a:noFill/>
          <a:ln w="28575">
            <a:solidFill>
              <a:srgbClr val="2DA2B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a:solidFill>
                  <a:srgbClr val="2DA2BF"/>
                </a:solidFill>
                <a:latin typeface="Verdana" panose="020B0604030504040204" pitchFamily="34" charset="0"/>
                <a:ea typeface="Verdana" panose="020B0604030504040204" pitchFamily="34" charset="0"/>
              </a:rPr>
              <a:t>Create and submit an ASR submission form</a:t>
            </a:r>
          </a:p>
        </p:txBody>
      </p:sp>
      <p:sp>
        <p:nvSpPr>
          <p:cNvPr id="36" name="Rectángulo 1">
            <a:extLst>
              <a:ext uri="{FF2B5EF4-FFF2-40B4-BE49-F238E27FC236}">
                <a16:creationId xmlns:a16="http://schemas.microsoft.com/office/drawing/2014/main" id="{CF1D1E95-3A04-4466-86C4-154A9C00324C}"/>
              </a:ext>
            </a:extLst>
          </p:cNvPr>
          <p:cNvSpPr/>
          <p:nvPr/>
        </p:nvSpPr>
        <p:spPr>
          <a:xfrm>
            <a:off x="631745" y="1379973"/>
            <a:ext cx="10620447" cy="695127"/>
          </a:xfrm>
          <a:prstGeom prst="rect">
            <a:avLst/>
          </a:prstGeom>
        </p:spPr>
        <p:txBody>
          <a:bodyPr wrap="square" lIns="91440" tIns="45720" rIns="91440" bIns="45720" anchor="t">
            <a:spAutoFit/>
          </a:bodyPr>
          <a:lstStyle/>
          <a:p>
            <a:pPr algn="just">
              <a:lnSpc>
                <a:spcPct val="150000"/>
              </a:lnSpc>
              <a:defRPr/>
            </a:pPr>
            <a:r>
              <a:rPr lang="en-GB" sz="1400" kern="0" dirty="0">
                <a:latin typeface="Verdana"/>
                <a:ea typeface="Verdana"/>
              </a:rPr>
              <a:t>A sponsor wants to submit an ASR related to one CT with only one MSC. </a:t>
            </a:r>
            <a:r>
              <a:rPr lang="en-US" sz="1400" b="1" kern="0" dirty="0">
                <a:latin typeface="Verdana"/>
                <a:ea typeface="Verdana"/>
              </a:rPr>
              <a:t>Drag and drop the pieces </a:t>
            </a:r>
            <a:r>
              <a:rPr lang="en-US" sz="1400" kern="0" dirty="0">
                <a:latin typeface="Verdana"/>
                <a:ea typeface="Verdana"/>
              </a:rPr>
              <a:t>to show the sequence of steps that the ASR submitter should follow in CTIS to submit the ASR.</a:t>
            </a:r>
          </a:p>
        </p:txBody>
      </p:sp>
    </p:spTree>
    <p:custDataLst>
      <p:tags r:id="rId1"/>
    </p:custDataLst>
    <p:extLst>
      <p:ext uri="{BB962C8B-B14F-4D97-AF65-F5344CB8AC3E}">
        <p14:creationId xmlns:p14="http://schemas.microsoft.com/office/powerpoint/2010/main" val="330859987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TextBox 17"/>
          <p:cNvSpPr txBox="1"/>
          <p:nvPr/>
        </p:nvSpPr>
        <p:spPr>
          <a:xfrm>
            <a:off x="887505" y="227053"/>
            <a:ext cx="6165909" cy="4001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0" cap="none" spc="0" normalizeH="0" baseline="0" noProof="0" dirty="0">
                <a:ln>
                  <a:noFill/>
                </a:ln>
                <a:solidFill>
                  <a:srgbClr val="2DA2BF"/>
                </a:solidFill>
                <a:effectLst/>
                <a:uLnTx/>
                <a:uFillTx/>
                <a:latin typeface="Verdana" panose="020B0604030504040204" pitchFamily="34" charset="0"/>
                <a:ea typeface="Verdana" panose="020B0604030504040204" pitchFamily="34" charset="0"/>
              </a:rPr>
              <a:t>Order the pieces of the process puzzle</a:t>
            </a:r>
          </a:p>
        </p:txBody>
      </p:sp>
      <p:grpSp>
        <p:nvGrpSpPr>
          <p:cNvPr id="4" name="Group 3"/>
          <p:cNvGrpSpPr/>
          <p:nvPr/>
        </p:nvGrpSpPr>
        <p:grpSpPr>
          <a:xfrm>
            <a:off x="10804490" y="227053"/>
            <a:ext cx="1033401" cy="1001877"/>
            <a:chOff x="10694194" y="1663959"/>
            <a:chExt cx="773097" cy="772534"/>
          </a:xfrm>
        </p:grpSpPr>
        <p:sp>
          <p:nvSpPr>
            <p:cNvPr id="48" name="Freeform 3"/>
            <p:cNvSpPr>
              <a:spLocks noChangeAspect="1"/>
            </p:cNvSpPr>
            <p:nvPr/>
          </p:nvSpPr>
          <p:spPr>
            <a:xfrm>
              <a:off x="10806092" y="1681802"/>
              <a:ext cx="617489" cy="536585"/>
            </a:xfrm>
            <a:custGeom>
              <a:avLst/>
              <a:gdLst>
                <a:gd name="connsiteX0" fmla="*/ 1552073 w 6244389"/>
                <a:gd name="connsiteY0" fmla="*/ 0 h 5426243"/>
                <a:gd name="connsiteX1" fmla="*/ 4704347 w 6244389"/>
                <a:gd name="connsiteY1" fmla="*/ 12032 h 5426243"/>
                <a:gd name="connsiteX2" fmla="*/ 6244389 w 6244389"/>
                <a:gd name="connsiteY2" fmla="*/ 2755232 h 5426243"/>
                <a:gd name="connsiteX3" fmla="*/ 4704347 w 6244389"/>
                <a:gd name="connsiteY3" fmla="*/ 5414211 h 5426243"/>
                <a:gd name="connsiteX4" fmla="*/ 1564105 w 6244389"/>
                <a:gd name="connsiteY4" fmla="*/ 5426243 h 5426243"/>
                <a:gd name="connsiteX5" fmla="*/ 0 w 6244389"/>
                <a:gd name="connsiteY5" fmla="*/ 2731169 h 5426243"/>
                <a:gd name="connsiteX6" fmla="*/ 1552073 w 6244389"/>
                <a:gd name="connsiteY6" fmla="*/ 0 h 54262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4389" h="5426243">
                  <a:moveTo>
                    <a:pt x="1552073" y="0"/>
                  </a:moveTo>
                  <a:lnTo>
                    <a:pt x="4704347" y="12032"/>
                  </a:lnTo>
                  <a:lnTo>
                    <a:pt x="6244389" y="2755232"/>
                  </a:lnTo>
                  <a:lnTo>
                    <a:pt x="4704347" y="5414211"/>
                  </a:lnTo>
                  <a:lnTo>
                    <a:pt x="1564105" y="5426243"/>
                  </a:lnTo>
                  <a:lnTo>
                    <a:pt x="0" y="2731169"/>
                  </a:lnTo>
                  <a:lnTo>
                    <a:pt x="1552073" y="0"/>
                  </a:lnTo>
                  <a:close/>
                </a:path>
              </a:pathLst>
            </a:custGeom>
            <a:solidFill>
              <a:srgbClr val="003399"/>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600" kern="0">
                <a:solidFill>
                  <a:prstClr val="white"/>
                </a:solidFill>
              </a:endParaRPr>
            </a:p>
          </p:txBody>
        </p:sp>
        <p:grpSp>
          <p:nvGrpSpPr>
            <p:cNvPr id="44" name="Cursor2" descr="{&quot;Key&quot;:&quot;POWER_USER_SHAPE_ICON&quot;,&quot;Value&quot;:&quot;POWER_USER_SHAPE_ICON_STYLE_1&quot;}">
              <a:extLst>
                <a:ext uri="{FF2B5EF4-FFF2-40B4-BE49-F238E27FC236}">
                  <a16:creationId xmlns:a16="http://schemas.microsoft.com/office/drawing/2014/main" id="{3A99E043-5C29-40D3-BAC0-3D7E56091529}"/>
                </a:ext>
              </a:extLst>
            </p:cNvPr>
            <p:cNvGrpSpPr>
              <a:grpSpLocks noChangeAspect="1"/>
            </p:cNvGrpSpPr>
            <p:nvPr>
              <p:custDataLst>
                <p:tags r:id="rId2"/>
              </p:custDataLst>
            </p:nvPr>
          </p:nvGrpSpPr>
          <p:grpSpPr bwMode="auto">
            <a:xfrm>
              <a:off x="10694194" y="1663959"/>
              <a:ext cx="395728" cy="395728"/>
              <a:chOff x="3747" y="175"/>
              <a:chExt cx="175" cy="175"/>
            </a:xfrm>
            <a:solidFill>
              <a:schemeClr val="bg1"/>
            </a:solidFill>
          </p:grpSpPr>
          <p:sp>
            <p:nvSpPr>
              <p:cNvPr id="45" name="Freeform 27">
                <a:extLst>
                  <a:ext uri="{FF2B5EF4-FFF2-40B4-BE49-F238E27FC236}">
                    <a16:creationId xmlns:a16="http://schemas.microsoft.com/office/drawing/2014/main" id="{20541D53-BD8A-4834-9FB1-2BA9A4807DDB}"/>
                  </a:ext>
                </a:extLst>
              </p:cNvPr>
              <p:cNvSpPr>
                <a:spLocks/>
              </p:cNvSpPr>
              <p:nvPr/>
            </p:nvSpPr>
            <p:spPr bwMode="auto">
              <a:xfrm>
                <a:off x="3747" y="175"/>
                <a:ext cx="175" cy="175"/>
              </a:xfrm>
              <a:custGeom>
                <a:avLst/>
                <a:gdLst>
                  <a:gd name="T0" fmla="*/ 300 w 363"/>
                  <a:gd name="T1" fmla="*/ 250 h 363"/>
                  <a:gd name="T2" fmla="*/ 275 w 363"/>
                  <a:gd name="T3" fmla="*/ 225 h 363"/>
                  <a:gd name="T4" fmla="*/ 300 w 363"/>
                  <a:gd name="T5" fmla="*/ 200 h 363"/>
                  <a:gd name="T6" fmla="*/ 200 w 363"/>
                  <a:gd name="T7" fmla="*/ 200 h 363"/>
                  <a:gd name="T8" fmla="*/ 200 w 363"/>
                  <a:gd name="T9" fmla="*/ 300 h 363"/>
                  <a:gd name="T10" fmla="*/ 225 w 363"/>
                  <a:gd name="T11" fmla="*/ 275 h 363"/>
                  <a:gd name="T12" fmla="*/ 250 w 363"/>
                  <a:gd name="T13" fmla="*/ 300 h 363"/>
                  <a:gd name="T14" fmla="*/ 188 w 363"/>
                  <a:gd name="T15" fmla="*/ 363 h 363"/>
                  <a:gd name="T16" fmla="*/ 175 w 363"/>
                  <a:gd name="T17" fmla="*/ 363 h 363"/>
                  <a:gd name="T18" fmla="*/ 113 w 363"/>
                  <a:gd name="T19" fmla="*/ 300 h 363"/>
                  <a:gd name="T20" fmla="*/ 138 w 363"/>
                  <a:gd name="T21" fmla="*/ 275 h 363"/>
                  <a:gd name="T22" fmla="*/ 163 w 363"/>
                  <a:gd name="T23" fmla="*/ 300 h 363"/>
                  <a:gd name="T24" fmla="*/ 163 w 363"/>
                  <a:gd name="T25" fmla="*/ 200 h 363"/>
                  <a:gd name="T26" fmla="*/ 63 w 363"/>
                  <a:gd name="T27" fmla="*/ 200 h 363"/>
                  <a:gd name="T28" fmla="*/ 88 w 363"/>
                  <a:gd name="T29" fmla="*/ 225 h 363"/>
                  <a:gd name="T30" fmla="*/ 63 w 363"/>
                  <a:gd name="T31" fmla="*/ 250 h 363"/>
                  <a:gd name="T32" fmla="*/ 0 w 363"/>
                  <a:gd name="T33" fmla="*/ 188 h 363"/>
                  <a:gd name="T34" fmla="*/ 0 w 363"/>
                  <a:gd name="T35" fmla="*/ 175 h 363"/>
                  <a:gd name="T36" fmla="*/ 63 w 363"/>
                  <a:gd name="T37" fmla="*/ 113 h 363"/>
                  <a:gd name="T38" fmla="*/ 88 w 363"/>
                  <a:gd name="T39" fmla="*/ 138 h 363"/>
                  <a:gd name="T40" fmla="*/ 63 w 363"/>
                  <a:gd name="T41" fmla="*/ 163 h 363"/>
                  <a:gd name="T42" fmla="*/ 163 w 363"/>
                  <a:gd name="T43" fmla="*/ 163 h 363"/>
                  <a:gd name="T44" fmla="*/ 163 w 363"/>
                  <a:gd name="T45" fmla="*/ 63 h 363"/>
                  <a:gd name="T46" fmla="*/ 138 w 363"/>
                  <a:gd name="T47" fmla="*/ 88 h 363"/>
                  <a:gd name="T48" fmla="*/ 113 w 363"/>
                  <a:gd name="T49" fmla="*/ 63 h 363"/>
                  <a:gd name="T50" fmla="*/ 175 w 363"/>
                  <a:gd name="T51" fmla="*/ 0 h 363"/>
                  <a:gd name="T52" fmla="*/ 188 w 363"/>
                  <a:gd name="T53" fmla="*/ 0 h 363"/>
                  <a:gd name="T54" fmla="*/ 250 w 363"/>
                  <a:gd name="T55" fmla="*/ 63 h 363"/>
                  <a:gd name="T56" fmla="*/ 225 w 363"/>
                  <a:gd name="T57" fmla="*/ 88 h 363"/>
                  <a:gd name="T58" fmla="*/ 200 w 363"/>
                  <a:gd name="T59" fmla="*/ 63 h 363"/>
                  <a:gd name="T60" fmla="*/ 200 w 363"/>
                  <a:gd name="T61" fmla="*/ 163 h 363"/>
                  <a:gd name="T62" fmla="*/ 300 w 363"/>
                  <a:gd name="T63" fmla="*/ 163 h 363"/>
                  <a:gd name="T64" fmla="*/ 275 w 363"/>
                  <a:gd name="T65" fmla="*/ 138 h 363"/>
                  <a:gd name="T66" fmla="*/ 300 w 363"/>
                  <a:gd name="T67" fmla="*/ 113 h 363"/>
                  <a:gd name="T68" fmla="*/ 363 w 363"/>
                  <a:gd name="T69" fmla="*/ 175 h 363"/>
                  <a:gd name="T70" fmla="*/ 363 w 363"/>
                  <a:gd name="T71" fmla="*/ 188 h 363"/>
                  <a:gd name="T72" fmla="*/ 300 w 363"/>
                  <a:gd name="T73" fmla="*/ 250 h 3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63" h="363">
                    <a:moveTo>
                      <a:pt x="300" y="250"/>
                    </a:moveTo>
                    <a:lnTo>
                      <a:pt x="275" y="225"/>
                    </a:lnTo>
                    <a:lnTo>
                      <a:pt x="300" y="200"/>
                    </a:lnTo>
                    <a:lnTo>
                      <a:pt x="200" y="200"/>
                    </a:lnTo>
                    <a:lnTo>
                      <a:pt x="200" y="300"/>
                    </a:lnTo>
                    <a:lnTo>
                      <a:pt x="225" y="275"/>
                    </a:lnTo>
                    <a:lnTo>
                      <a:pt x="250" y="300"/>
                    </a:lnTo>
                    <a:lnTo>
                      <a:pt x="188" y="363"/>
                    </a:lnTo>
                    <a:lnTo>
                      <a:pt x="175" y="363"/>
                    </a:lnTo>
                    <a:lnTo>
                      <a:pt x="113" y="300"/>
                    </a:lnTo>
                    <a:lnTo>
                      <a:pt x="138" y="275"/>
                    </a:lnTo>
                    <a:lnTo>
                      <a:pt x="163" y="300"/>
                    </a:lnTo>
                    <a:lnTo>
                      <a:pt x="163" y="200"/>
                    </a:lnTo>
                    <a:lnTo>
                      <a:pt x="63" y="200"/>
                    </a:lnTo>
                    <a:lnTo>
                      <a:pt x="88" y="225"/>
                    </a:lnTo>
                    <a:lnTo>
                      <a:pt x="63" y="250"/>
                    </a:lnTo>
                    <a:lnTo>
                      <a:pt x="0" y="188"/>
                    </a:lnTo>
                    <a:lnTo>
                      <a:pt x="0" y="175"/>
                    </a:lnTo>
                    <a:lnTo>
                      <a:pt x="63" y="113"/>
                    </a:lnTo>
                    <a:lnTo>
                      <a:pt x="88" y="138"/>
                    </a:lnTo>
                    <a:lnTo>
                      <a:pt x="63" y="163"/>
                    </a:lnTo>
                    <a:lnTo>
                      <a:pt x="163" y="163"/>
                    </a:lnTo>
                    <a:lnTo>
                      <a:pt x="163" y="63"/>
                    </a:lnTo>
                    <a:lnTo>
                      <a:pt x="138" y="88"/>
                    </a:lnTo>
                    <a:lnTo>
                      <a:pt x="113" y="63"/>
                    </a:lnTo>
                    <a:lnTo>
                      <a:pt x="175" y="0"/>
                    </a:lnTo>
                    <a:lnTo>
                      <a:pt x="188" y="0"/>
                    </a:lnTo>
                    <a:lnTo>
                      <a:pt x="250" y="63"/>
                    </a:lnTo>
                    <a:lnTo>
                      <a:pt x="225" y="88"/>
                    </a:lnTo>
                    <a:lnTo>
                      <a:pt x="200" y="63"/>
                    </a:lnTo>
                    <a:lnTo>
                      <a:pt x="200" y="163"/>
                    </a:lnTo>
                    <a:lnTo>
                      <a:pt x="300" y="163"/>
                    </a:lnTo>
                    <a:lnTo>
                      <a:pt x="275" y="138"/>
                    </a:lnTo>
                    <a:lnTo>
                      <a:pt x="300" y="113"/>
                    </a:lnTo>
                    <a:lnTo>
                      <a:pt x="363" y="175"/>
                    </a:lnTo>
                    <a:lnTo>
                      <a:pt x="363" y="188"/>
                    </a:lnTo>
                    <a:lnTo>
                      <a:pt x="300" y="250"/>
                    </a:lnTo>
                    <a:close/>
                  </a:path>
                </a:pathLst>
              </a:custGeom>
              <a:grpFill/>
              <a:ln w="0">
                <a:solidFill>
                  <a:srgbClr val="003399"/>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6" name="Freeform 28">
                <a:extLst>
                  <a:ext uri="{FF2B5EF4-FFF2-40B4-BE49-F238E27FC236}">
                    <a16:creationId xmlns:a16="http://schemas.microsoft.com/office/drawing/2014/main" id="{93C90CD6-28D7-4854-A0A8-0E952458417E}"/>
                  </a:ext>
                </a:extLst>
              </p:cNvPr>
              <p:cNvSpPr>
                <a:spLocks/>
              </p:cNvSpPr>
              <p:nvPr/>
            </p:nvSpPr>
            <p:spPr bwMode="auto">
              <a:xfrm>
                <a:off x="3801" y="229"/>
                <a:ext cx="66" cy="66"/>
              </a:xfrm>
              <a:custGeom>
                <a:avLst/>
                <a:gdLst>
                  <a:gd name="T0" fmla="*/ 0 w 137"/>
                  <a:gd name="T1" fmla="*/ 50 h 137"/>
                  <a:gd name="T2" fmla="*/ 0 w 137"/>
                  <a:gd name="T3" fmla="*/ 87 h 137"/>
                  <a:gd name="T4" fmla="*/ 50 w 137"/>
                  <a:gd name="T5" fmla="*/ 87 h 137"/>
                  <a:gd name="T6" fmla="*/ 50 w 137"/>
                  <a:gd name="T7" fmla="*/ 137 h 137"/>
                  <a:gd name="T8" fmla="*/ 87 w 137"/>
                  <a:gd name="T9" fmla="*/ 137 h 137"/>
                  <a:gd name="T10" fmla="*/ 87 w 137"/>
                  <a:gd name="T11" fmla="*/ 87 h 137"/>
                  <a:gd name="T12" fmla="*/ 137 w 137"/>
                  <a:gd name="T13" fmla="*/ 87 h 137"/>
                  <a:gd name="T14" fmla="*/ 137 w 137"/>
                  <a:gd name="T15" fmla="*/ 50 h 137"/>
                  <a:gd name="T16" fmla="*/ 87 w 137"/>
                  <a:gd name="T17" fmla="*/ 50 h 137"/>
                  <a:gd name="T18" fmla="*/ 87 w 137"/>
                  <a:gd name="T19" fmla="*/ 0 h 137"/>
                  <a:gd name="T20" fmla="*/ 50 w 137"/>
                  <a:gd name="T21" fmla="*/ 0 h 137"/>
                  <a:gd name="T22" fmla="*/ 50 w 137"/>
                  <a:gd name="T23" fmla="*/ 50 h 137"/>
                  <a:gd name="T24" fmla="*/ 0 w 137"/>
                  <a:gd name="T25" fmla="*/ 50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37" h="137">
                    <a:moveTo>
                      <a:pt x="0" y="50"/>
                    </a:moveTo>
                    <a:lnTo>
                      <a:pt x="0" y="87"/>
                    </a:lnTo>
                    <a:lnTo>
                      <a:pt x="50" y="87"/>
                    </a:lnTo>
                    <a:lnTo>
                      <a:pt x="50" y="137"/>
                    </a:lnTo>
                    <a:lnTo>
                      <a:pt x="87" y="137"/>
                    </a:lnTo>
                    <a:lnTo>
                      <a:pt x="87" y="87"/>
                    </a:lnTo>
                    <a:lnTo>
                      <a:pt x="137" y="87"/>
                    </a:lnTo>
                    <a:lnTo>
                      <a:pt x="137" y="50"/>
                    </a:lnTo>
                    <a:lnTo>
                      <a:pt x="87" y="50"/>
                    </a:lnTo>
                    <a:lnTo>
                      <a:pt x="87" y="0"/>
                    </a:lnTo>
                    <a:lnTo>
                      <a:pt x="50" y="0"/>
                    </a:lnTo>
                    <a:lnTo>
                      <a:pt x="50" y="50"/>
                    </a:lnTo>
                    <a:lnTo>
                      <a:pt x="0" y="50"/>
                    </a:lnTo>
                    <a:close/>
                  </a:path>
                </a:pathLst>
              </a:custGeom>
              <a:grpFill/>
              <a:ln w="0">
                <a:solidFill>
                  <a:srgbClr val="003399"/>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47" name="Cursor" descr="{&quot;Key&quot;:&quot;POWER_USER_SHAPE_ICON&quot;,&quot;Value&quot;:&quot;POWER_USER_SHAPE_ICON_STYLE_1&quot;}"/>
            <p:cNvSpPr>
              <a:spLocks noChangeAspect="1"/>
            </p:cNvSpPr>
            <p:nvPr>
              <p:custDataLst>
                <p:tags r:id="rId3"/>
              </p:custDataLst>
            </p:nvPr>
          </p:nvSpPr>
          <p:spPr bwMode="auto">
            <a:xfrm flipH="1">
              <a:off x="11167390" y="1893568"/>
              <a:ext cx="299901" cy="542925"/>
            </a:xfrm>
            <a:custGeom>
              <a:avLst/>
              <a:gdLst>
                <a:gd name="T0" fmla="*/ 413 w 422"/>
                <a:gd name="T1" fmla="*/ 4 h 721"/>
                <a:gd name="T2" fmla="*/ 386 w 422"/>
                <a:gd name="T3" fmla="*/ 9 h 721"/>
                <a:gd name="T4" fmla="*/ 9 w 422"/>
                <a:gd name="T5" fmla="*/ 355 h 721"/>
                <a:gd name="T6" fmla="*/ 1 w 422"/>
                <a:gd name="T7" fmla="*/ 377 h 721"/>
                <a:gd name="T8" fmla="*/ 16 w 422"/>
                <a:gd name="T9" fmla="*/ 396 h 721"/>
                <a:gd name="T10" fmla="*/ 145 w 422"/>
                <a:gd name="T11" fmla="*/ 453 h 721"/>
                <a:gd name="T12" fmla="*/ 64 w 422"/>
                <a:gd name="T13" fmla="*/ 635 h 721"/>
                <a:gd name="T14" fmla="*/ 88 w 422"/>
                <a:gd name="T15" fmla="*/ 694 h 721"/>
                <a:gd name="T16" fmla="*/ 125 w 422"/>
                <a:gd name="T17" fmla="*/ 710 h 721"/>
                <a:gd name="T18" fmla="*/ 184 w 422"/>
                <a:gd name="T19" fmla="*/ 689 h 721"/>
                <a:gd name="T20" fmla="*/ 265 w 422"/>
                <a:gd name="T21" fmla="*/ 506 h 721"/>
                <a:gd name="T22" fmla="*/ 393 w 422"/>
                <a:gd name="T23" fmla="*/ 563 h 721"/>
                <a:gd name="T24" fmla="*/ 422 w 422"/>
                <a:gd name="T25" fmla="*/ 540 h 721"/>
                <a:gd name="T26" fmla="*/ 422 w 422"/>
                <a:gd name="T27" fmla="*/ 27 h 721"/>
                <a:gd name="T28" fmla="*/ 413 w 422"/>
                <a:gd name="T29" fmla="*/ 4 h 7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2" h="721">
                  <a:moveTo>
                    <a:pt x="413" y="4"/>
                  </a:moveTo>
                  <a:cubicBezTo>
                    <a:pt x="404" y="0"/>
                    <a:pt x="393" y="2"/>
                    <a:pt x="386" y="9"/>
                  </a:cubicBezTo>
                  <a:lnTo>
                    <a:pt x="9" y="355"/>
                  </a:lnTo>
                  <a:cubicBezTo>
                    <a:pt x="3" y="360"/>
                    <a:pt x="0" y="369"/>
                    <a:pt x="1" y="377"/>
                  </a:cubicBezTo>
                  <a:cubicBezTo>
                    <a:pt x="2" y="385"/>
                    <a:pt x="8" y="392"/>
                    <a:pt x="16" y="396"/>
                  </a:cubicBezTo>
                  <a:lnTo>
                    <a:pt x="145" y="453"/>
                  </a:lnTo>
                  <a:lnTo>
                    <a:pt x="64" y="635"/>
                  </a:lnTo>
                  <a:cubicBezTo>
                    <a:pt x="54" y="657"/>
                    <a:pt x="65" y="684"/>
                    <a:pt x="88" y="694"/>
                  </a:cubicBezTo>
                  <a:lnTo>
                    <a:pt x="125" y="710"/>
                  </a:lnTo>
                  <a:cubicBezTo>
                    <a:pt x="148" y="721"/>
                    <a:pt x="175" y="711"/>
                    <a:pt x="184" y="689"/>
                  </a:cubicBezTo>
                  <a:lnTo>
                    <a:pt x="265" y="506"/>
                  </a:lnTo>
                  <a:lnTo>
                    <a:pt x="393" y="563"/>
                  </a:lnTo>
                  <a:cubicBezTo>
                    <a:pt x="396" y="564"/>
                    <a:pt x="422" y="567"/>
                    <a:pt x="422" y="540"/>
                  </a:cubicBezTo>
                  <a:lnTo>
                    <a:pt x="422" y="27"/>
                  </a:lnTo>
                  <a:cubicBezTo>
                    <a:pt x="422" y="17"/>
                    <a:pt x="422" y="8"/>
                    <a:pt x="413" y="4"/>
                  </a:cubicBezTo>
                </a:path>
              </a:pathLst>
            </a:custGeom>
            <a:solidFill>
              <a:schemeClr val="bg1"/>
            </a:solidFill>
            <a:ln>
              <a:solidFill>
                <a:srgbClr val="003399"/>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38" name="Rounded Rectangle 38">
            <a:extLst>
              <a:ext uri="{FF2B5EF4-FFF2-40B4-BE49-F238E27FC236}">
                <a16:creationId xmlns:a16="http://schemas.microsoft.com/office/drawing/2014/main" id="{33F16AF9-63BD-4D07-8178-01C78EE1E1CC}"/>
              </a:ext>
            </a:extLst>
          </p:cNvPr>
          <p:cNvSpPr/>
          <p:nvPr/>
        </p:nvSpPr>
        <p:spPr>
          <a:xfrm>
            <a:off x="982132" y="823498"/>
            <a:ext cx="2700000" cy="432808"/>
          </a:xfrm>
          <a:prstGeom prst="roundRect">
            <a:avLst/>
          </a:prstGeom>
          <a:solidFill>
            <a:srgbClr val="2DA2B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a:latin typeface="Verdana" panose="020B0604030504040204" pitchFamily="34" charset="0"/>
                <a:ea typeface="Verdana" panose="020B0604030504040204" pitchFamily="34" charset="0"/>
              </a:rPr>
              <a:t>Case scenario 2</a:t>
            </a:r>
          </a:p>
        </p:txBody>
      </p:sp>
      <p:sp>
        <p:nvSpPr>
          <p:cNvPr id="53" name="Rounded Rectangle 43">
            <a:extLst>
              <a:ext uri="{FF2B5EF4-FFF2-40B4-BE49-F238E27FC236}">
                <a16:creationId xmlns:a16="http://schemas.microsoft.com/office/drawing/2014/main" id="{AA9B43C8-BCA2-4848-B637-EE949370EADC}"/>
              </a:ext>
            </a:extLst>
          </p:cNvPr>
          <p:cNvSpPr/>
          <p:nvPr/>
        </p:nvSpPr>
        <p:spPr>
          <a:xfrm>
            <a:off x="3757186" y="832481"/>
            <a:ext cx="4489052" cy="432808"/>
          </a:xfrm>
          <a:prstGeom prst="roundRect">
            <a:avLst/>
          </a:prstGeom>
          <a:noFill/>
          <a:ln w="28575">
            <a:solidFill>
              <a:srgbClr val="2DA2B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b="1">
                <a:solidFill>
                  <a:srgbClr val="2DA2BF"/>
                </a:solidFill>
                <a:latin typeface="Verdana" panose="020B0604030504040204" pitchFamily="34" charset="0"/>
                <a:ea typeface="Verdana" panose="020B0604030504040204" pitchFamily="34" charset="0"/>
              </a:rPr>
              <a:t>Create and submit an ASR submission form and respond a related RFI</a:t>
            </a:r>
          </a:p>
        </p:txBody>
      </p:sp>
      <p:sp>
        <p:nvSpPr>
          <p:cNvPr id="40" name="Freeform 5">
            <a:extLst>
              <a:ext uri="{FF2B5EF4-FFF2-40B4-BE49-F238E27FC236}">
                <a16:creationId xmlns:a16="http://schemas.microsoft.com/office/drawing/2014/main" id="{7D7574B6-B0FB-4DC9-A017-3A64C1E64BA7}"/>
              </a:ext>
            </a:extLst>
          </p:cNvPr>
          <p:cNvSpPr>
            <a:spLocks/>
          </p:cNvSpPr>
          <p:nvPr/>
        </p:nvSpPr>
        <p:spPr>
          <a:xfrm>
            <a:off x="1053636" y="5029713"/>
            <a:ext cx="1260000" cy="1087022"/>
          </a:xfrm>
          <a:custGeom>
            <a:avLst/>
            <a:gdLst>
              <a:gd name="connsiteX0" fmla="*/ 1552073 w 6244389"/>
              <a:gd name="connsiteY0" fmla="*/ 0 h 5426243"/>
              <a:gd name="connsiteX1" fmla="*/ 4704347 w 6244389"/>
              <a:gd name="connsiteY1" fmla="*/ 12032 h 5426243"/>
              <a:gd name="connsiteX2" fmla="*/ 6244389 w 6244389"/>
              <a:gd name="connsiteY2" fmla="*/ 2755232 h 5426243"/>
              <a:gd name="connsiteX3" fmla="*/ 4704347 w 6244389"/>
              <a:gd name="connsiteY3" fmla="*/ 5414211 h 5426243"/>
              <a:gd name="connsiteX4" fmla="*/ 1564105 w 6244389"/>
              <a:gd name="connsiteY4" fmla="*/ 5426243 h 5426243"/>
              <a:gd name="connsiteX5" fmla="*/ 0 w 6244389"/>
              <a:gd name="connsiteY5" fmla="*/ 2731169 h 5426243"/>
              <a:gd name="connsiteX6" fmla="*/ 1552073 w 6244389"/>
              <a:gd name="connsiteY6" fmla="*/ 0 h 54262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4389" h="5426243">
                <a:moveTo>
                  <a:pt x="1552073" y="0"/>
                </a:moveTo>
                <a:lnTo>
                  <a:pt x="4704347" y="12032"/>
                </a:lnTo>
                <a:lnTo>
                  <a:pt x="6244389" y="2755232"/>
                </a:lnTo>
                <a:lnTo>
                  <a:pt x="4704347" y="5414211"/>
                </a:lnTo>
                <a:lnTo>
                  <a:pt x="1564105" y="5426243"/>
                </a:lnTo>
                <a:lnTo>
                  <a:pt x="0" y="2731169"/>
                </a:lnTo>
                <a:lnTo>
                  <a:pt x="1552073" y="0"/>
                </a:lnTo>
                <a:close/>
              </a:path>
            </a:pathLst>
          </a:custGeom>
          <a:solidFill>
            <a:schemeClr val="bg1">
              <a:lumMod val="95000"/>
            </a:schemeClr>
          </a:solid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noAutofit/>
          </a:bodyPr>
          <a:lstStyle/>
          <a:p>
            <a:pPr lvl="0" algn="ctr">
              <a:defRPr/>
            </a:pPr>
            <a:r>
              <a:rPr lang="en-US" sz="1100" i="1" kern="0">
                <a:solidFill>
                  <a:schemeClr val="bg1">
                    <a:lumMod val="50000"/>
                  </a:schemeClr>
                </a:solidFill>
                <a:latin typeface="Verdana" panose="020B0604030504040204" pitchFamily="34" charset="0"/>
                <a:ea typeface="Verdana" panose="020B0604030504040204" pitchFamily="34" charset="0"/>
              </a:rPr>
              <a:t>Drop here</a:t>
            </a:r>
          </a:p>
          <a:p>
            <a:pPr lvl="0" algn="ctr">
              <a:defRPr/>
            </a:pPr>
            <a:r>
              <a:rPr lang="en-US" sz="1100" i="1" kern="0">
                <a:solidFill>
                  <a:schemeClr val="bg1">
                    <a:lumMod val="50000"/>
                  </a:schemeClr>
                </a:solidFill>
                <a:latin typeface="Verdana" panose="020B0604030504040204" pitchFamily="34" charset="0"/>
                <a:ea typeface="Verdana" panose="020B0604030504040204" pitchFamily="34" charset="0"/>
              </a:rPr>
              <a:t>Nº 1</a:t>
            </a:r>
          </a:p>
        </p:txBody>
      </p:sp>
      <p:sp>
        <p:nvSpPr>
          <p:cNvPr id="55" name="Freeform 5">
            <a:extLst>
              <a:ext uri="{FF2B5EF4-FFF2-40B4-BE49-F238E27FC236}">
                <a16:creationId xmlns:a16="http://schemas.microsoft.com/office/drawing/2014/main" id="{9ECF540D-EFD6-4470-839C-4FBFE6A281BF}"/>
              </a:ext>
            </a:extLst>
          </p:cNvPr>
          <p:cNvSpPr>
            <a:spLocks/>
          </p:cNvSpPr>
          <p:nvPr/>
        </p:nvSpPr>
        <p:spPr>
          <a:xfrm>
            <a:off x="2042403" y="5602301"/>
            <a:ext cx="1260000" cy="1087022"/>
          </a:xfrm>
          <a:custGeom>
            <a:avLst/>
            <a:gdLst>
              <a:gd name="connsiteX0" fmla="*/ 1552073 w 6244389"/>
              <a:gd name="connsiteY0" fmla="*/ 0 h 5426243"/>
              <a:gd name="connsiteX1" fmla="*/ 4704347 w 6244389"/>
              <a:gd name="connsiteY1" fmla="*/ 12032 h 5426243"/>
              <a:gd name="connsiteX2" fmla="*/ 6244389 w 6244389"/>
              <a:gd name="connsiteY2" fmla="*/ 2755232 h 5426243"/>
              <a:gd name="connsiteX3" fmla="*/ 4704347 w 6244389"/>
              <a:gd name="connsiteY3" fmla="*/ 5414211 h 5426243"/>
              <a:gd name="connsiteX4" fmla="*/ 1564105 w 6244389"/>
              <a:gd name="connsiteY4" fmla="*/ 5426243 h 5426243"/>
              <a:gd name="connsiteX5" fmla="*/ 0 w 6244389"/>
              <a:gd name="connsiteY5" fmla="*/ 2731169 h 5426243"/>
              <a:gd name="connsiteX6" fmla="*/ 1552073 w 6244389"/>
              <a:gd name="connsiteY6" fmla="*/ 0 h 54262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4389" h="5426243">
                <a:moveTo>
                  <a:pt x="1552073" y="0"/>
                </a:moveTo>
                <a:lnTo>
                  <a:pt x="4704347" y="12032"/>
                </a:lnTo>
                <a:lnTo>
                  <a:pt x="6244389" y="2755232"/>
                </a:lnTo>
                <a:lnTo>
                  <a:pt x="4704347" y="5414211"/>
                </a:lnTo>
                <a:lnTo>
                  <a:pt x="1564105" y="5426243"/>
                </a:lnTo>
                <a:lnTo>
                  <a:pt x="0" y="2731169"/>
                </a:lnTo>
                <a:lnTo>
                  <a:pt x="1552073" y="0"/>
                </a:lnTo>
                <a:close/>
              </a:path>
            </a:pathLst>
          </a:custGeom>
          <a:solidFill>
            <a:schemeClr val="bg1">
              <a:lumMod val="95000"/>
            </a:schemeClr>
          </a:solid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noAutofit/>
          </a:bodyPr>
          <a:lstStyle/>
          <a:p>
            <a:pPr lvl="0" algn="ctr">
              <a:defRPr/>
            </a:pPr>
            <a:r>
              <a:rPr lang="en-US" sz="1100" i="1" kern="0">
                <a:solidFill>
                  <a:schemeClr val="bg1">
                    <a:lumMod val="50000"/>
                  </a:schemeClr>
                </a:solidFill>
                <a:latin typeface="Verdana" panose="020B0604030504040204" pitchFamily="34" charset="0"/>
                <a:ea typeface="Verdana" panose="020B0604030504040204" pitchFamily="34" charset="0"/>
              </a:rPr>
              <a:t>Drop here</a:t>
            </a:r>
          </a:p>
          <a:p>
            <a:pPr algn="ctr">
              <a:defRPr/>
            </a:pPr>
            <a:r>
              <a:rPr lang="en-US" sz="1100" i="1" kern="0">
                <a:solidFill>
                  <a:schemeClr val="bg1">
                    <a:lumMod val="50000"/>
                  </a:schemeClr>
                </a:solidFill>
                <a:latin typeface="Verdana" panose="020B0604030504040204" pitchFamily="34" charset="0"/>
                <a:ea typeface="Verdana" panose="020B0604030504040204" pitchFamily="34" charset="0"/>
              </a:rPr>
              <a:t>Nº 2</a:t>
            </a:r>
          </a:p>
        </p:txBody>
      </p:sp>
      <p:sp>
        <p:nvSpPr>
          <p:cNvPr id="56" name="Freeform 5">
            <a:extLst>
              <a:ext uri="{FF2B5EF4-FFF2-40B4-BE49-F238E27FC236}">
                <a16:creationId xmlns:a16="http://schemas.microsoft.com/office/drawing/2014/main" id="{B8C57504-35B7-4D8C-93E2-87DC42493BD5}"/>
              </a:ext>
            </a:extLst>
          </p:cNvPr>
          <p:cNvSpPr>
            <a:spLocks/>
          </p:cNvSpPr>
          <p:nvPr/>
        </p:nvSpPr>
        <p:spPr>
          <a:xfrm>
            <a:off x="3031170" y="5029713"/>
            <a:ext cx="1260000" cy="1087022"/>
          </a:xfrm>
          <a:custGeom>
            <a:avLst/>
            <a:gdLst>
              <a:gd name="connsiteX0" fmla="*/ 1552073 w 6244389"/>
              <a:gd name="connsiteY0" fmla="*/ 0 h 5426243"/>
              <a:gd name="connsiteX1" fmla="*/ 4704347 w 6244389"/>
              <a:gd name="connsiteY1" fmla="*/ 12032 h 5426243"/>
              <a:gd name="connsiteX2" fmla="*/ 6244389 w 6244389"/>
              <a:gd name="connsiteY2" fmla="*/ 2755232 h 5426243"/>
              <a:gd name="connsiteX3" fmla="*/ 4704347 w 6244389"/>
              <a:gd name="connsiteY3" fmla="*/ 5414211 h 5426243"/>
              <a:gd name="connsiteX4" fmla="*/ 1564105 w 6244389"/>
              <a:gd name="connsiteY4" fmla="*/ 5426243 h 5426243"/>
              <a:gd name="connsiteX5" fmla="*/ 0 w 6244389"/>
              <a:gd name="connsiteY5" fmla="*/ 2731169 h 5426243"/>
              <a:gd name="connsiteX6" fmla="*/ 1552073 w 6244389"/>
              <a:gd name="connsiteY6" fmla="*/ 0 h 54262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4389" h="5426243">
                <a:moveTo>
                  <a:pt x="1552073" y="0"/>
                </a:moveTo>
                <a:lnTo>
                  <a:pt x="4704347" y="12032"/>
                </a:lnTo>
                <a:lnTo>
                  <a:pt x="6244389" y="2755232"/>
                </a:lnTo>
                <a:lnTo>
                  <a:pt x="4704347" y="5414211"/>
                </a:lnTo>
                <a:lnTo>
                  <a:pt x="1564105" y="5426243"/>
                </a:lnTo>
                <a:lnTo>
                  <a:pt x="0" y="2731169"/>
                </a:lnTo>
                <a:lnTo>
                  <a:pt x="1552073" y="0"/>
                </a:lnTo>
                <a:close/>
              </a:path>
            </a:pathLst>
          </a:custGeom>
          <a:solidFill>
            <a:schemeClr val="bg1">
              <a:lumMod val="95000"/>
            </a:schemeClr>
          </a:solid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noAutofit/>
          </a:bodyPr>
          <a:lstStyle/>
          <a:p>
            <a:pPr lvl="0" algn="ctr">
              <a:defRPr/>
            </a:pPr>
            <a:r>
              <a:rPr lang="en-US" sz="1100" i="1" kern="0">
                <a:solidFill>
                  <a:schemeClr val="bg1">
                    <a:lumMod val="50000"/>
                  </a:schemeClr>
                </a:solidFill>
                <a:latin typeface="Verdana" panose="020B0604030504040204" pitchFamily="34" charset="0"/>
                <a:ea typeface="Verdana" panose="020B0604030504040204" pitchFamily="34" charset="0"/>
              </a:rPr>
              <a:t>Drop here</a:t>
            </a:r>
          </a:p>
          <a:p>
            <a:pPr algn="ctr">
              <a:defRPr/>
            </a:pPr>
            <a:r>
              <a:rPr lang="en-US" sz="1100" i="1" kern="0">
                <a:solidFill>
                  <a:schemeClr val="bg1">
                    <a:lumMod val="50000"/>
                  </a:schemeClr>
                </a:solidFill>
                <a:latin typeface="Verdana" panose="020B0604030504040204" pitchFamily="34" charset="0"/>
                <a:ea typeface="Verdana" panose="020B0604030504040204" pitchFamily="34" charset="0"/>
              </a:rPr>
              <a:t>Nº 3</a:t>
            </a:r>
          </a:p>
        </p:txBody>
      </p:sp>
      <p:sp>
        <p:nvSpPr>
          <p:cNvPr id="57" name="Freeform 5">
            <a:extLst>
              <a:ext uri="{FF2B5EF4-FFF2-40B4-BE49-F238E27FC236}">
                <a16:creationId xmlns:a16="http://schemas.microsoft.com/office/drawing/2014/main" id="{C43BE98F-C369-4A65-9CD7-35EE2EA07798}"/>
              </a:ext>
            </a:extLst>
          </p:cNvPr>
          <p:cNvSpPr>
            <a:spLocks/>
          </p:cNvSpPr>
          <p:nvPr/>
        </p:nvSpPr>
        <p:spPr>
          <a:xfrm>
            <a:off x="4019937" y="5596030"/>
            <a:ext cx="1260000" cy="1087022"/>
          </a:xfrm>
          <a:custGeom>
            <a:avLst/>
            <a:gdLst>
              <a:gd name="connsiteX0" fmla="*/ 1552073 w 6244389"/>
              <a:gd name="connsiteY0" fmla="*/ 0 h 5426243"/>
              <a:gd name="connsiteX1" fmla="*/ 4704347 w 6244389"/>
              <a:gd name="connsiteY1" fmla="*/ 12032 h 5426243"/>
              <a:gd name="connsiteX2" fmla="*/ 6244389 w 6244389"/>
              <a:gd name="connsiteY2" fmla="*/ 2755232 h 5426243"/>
              <a:gd name="connsiteX3" fmla="*/ 4704347 w 6244389"/>
              <a:gd name="connsiteY3" fmla="*/ 5414211 h 5426243"/>
              <a:gd name="connsiteX4" fmla="*/ 1564105 w 6244389"/>
              <a:gd name="connsiteY4" fmla="*/ 5426243 h 5426243"/>
              <a:gd name="connsiteX5" fmla="*/ 0 w 6244389"/>
              <a:gd name="connsiteY5" fmla="*/ 2731169 h 5426243"/>
              <a:gd name="connsiteX6" fmla="*/ 1552073 w 6244389"/>
              <a:gd name="connsiteY6" fmla="*/ 0 h 54262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4389" h="5426243">
                <a:moveTo>
                  <a:pt x="1552073" y="0"/>
                </a:moveTo>
                <a:lnTo>
                  <a:pt x="4704347" y="12032"/>
                </a:lnTo>
                <a:lnTo>
                  <a:pt x="6244389" y="2755232"/>
                </a:lnTo>
                <a:lnTo>
                  <a:pt x="4704347" y="5414211"/>
                </a:lnTo>
                <a:lnTo>
                  <a:pt x="1564105" y="5426243"/>
                </a:lnTo>
                <a:lnTo>
                  <a:pt x="0" y="2731169"/>
                </a:lnTo>
                <a:lnTo>
                  <a:pt x="1552073" y="0"/>
                </a:lnTo>
                <a:close/>
              </a:path>
            </a:pathLst>
          </a:custGeom>
          <a:solidFill>
            <a:schemeClr val="bg1">
              <a:lumMod val="95000"/>
            </a:schemeClr>
          </a:solid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noAutofit/>
          </a:bodyPr>
          <a:lstStyle/>
          <a:p>
            <a:pPr lvl="0" algn="ctr">
              <a:defRPr/>
            </a:pPr>
            <a:r>
              <a:rPr lang="en-US" sz="1100" i="1" kern="0">
                <a:solidFill>
                  <a:schemeClr val="bg1">
                    <a:lumMod val="50000"/>
                  </a:schemeClr>
                </a:solidFill>
                <a:latin typeface="Verdana" panose="020B0604030504040204" pitchFamily="34" charset="0"/>
                <a:ea typeface="Verdana" panose="020B0604030504040204" pitchFamily="34" charset="0"/>
              </a:rPr>
              <a:t>Drop here</a:t>
            </a:r>
          </a:p>
          <a:p>
            <a:pPr algn="ctr">
              <a:defRPr/>
            </a:pPr>
            <a:r>
              <a:rPr lang="en-US" sz="1100" i="1" kern="0">
                <a:solidFill>
                  <a:schemeClr val="bg1">
                    <a:lumMod val="50000"/>
                  </a:schemeClr>
                </a:solidFill>
                <a:latin typeface="Verdana" panose="020B0604030504040204" pitchFamily="34" charset="0"/>
                <a:ea typeface="Verdana" panose="020B0604030504040204" pitchFamily="34" charset="0"/>
              </a:rPr>
              <a:t>Nº 4</a:t>
            </a:r>
          </a:p>
        </p:txBody>
      </p:sp>
      <p:sp>
        <p:nvSpPr>
          <p:cNvPr id="58" name="Freeform 5">
            <a:extLst>
              <a:ext uri="{FF2B5EF4-FFF2-40B4-BE49-F238E27FC236}">
                <a16:creationId xmlns:a16="http://schemas.microsoft.com/office/drawing/2014/main" id="{4E4B20DB-67DD-49E6-B624-E9F402BD49AF}"/>
              </a:ext>
            </a:extLst>
          </p:cNvPr>
          <p:cNvSpPr>
            <a:spLocks/>
          </p:cNvSpPr>
          <p:nvPr/>
        </p:nvSpPr>
        <p:spPr>
          <a:xfrm>
            <a:off x="5008704" y="5025539"/>
            <a:ext cx="1260000" cy="1087022"/>
          </a:xfrm>
          <a:custGeom>
            <a:avLst/>
            <a:gdLst>
              <a:gd name="connsiteX0" fmla="*/ 1552073 w 6244389"/>
              <a:gd name="connsiteY0" fmla="*/ 0 h 5426243"/>
              <a:gd name="connsiteX1" fmla="*/ 4704347 w 6244389"/>
              <a:gd name="connsiteY1" fmla="*/ 12032 h 5426243"/>
              <a:gd name="connsiteX2" fmla="*/ 6244389 w 6244389"/>
              <a:gd name="connsiteY2" fmla="*/ 2755232 h 5426243"/>
              <a:gd name="connsiteX3" fmla="*/ 4704347 w 6244389"/>
              <a:gd name="connsiteY3" fmla="*/ 5414211 h 5426243"/>
              <a:gd name="connsiteX4" fmla="*/ 1564105 w 6244389"/>
              <a:gd name="connsiteY4" fmla="*/ 5426243 h 5426243"/>
              <a:gd name="connsiteX5" fmla="*/ 0 w 6244389"/>
              <a:gd name="connsiteY5" fmla="*/ 2731169 h 5426243"/>
              <a:gd name="connsiteX6" fmla="*/ 1552073 w 6244389"/>
              <a:gd name="connsiteY6" fmla="*/ 0 h 54262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4389" h="5426243">
                <a:moveTo>
                  <a:pt x="1552073" y="0"/>
                </a:moveTo>
                <a:lnTo>
                  <a:pt x="4704347" y="12032"/>
                </a:lnTo>
                <a:lnTo>
                  <a:pt x="6244389" y="2755232"/>
                </a:lnTo>
                <a:lnTo>
                  <a:pt x="4704347" y="5414211"/>
                </a:lnTo>
                <a:lnTo>
                  <a:pt x="1564105" y="5426243"/>
                </a:lnTo>
                <a:lnTo>
                  <a:pt x="0" y="2731169"/>
                </a:lnTo>
                <a:lnTo>
                  <a:pt x="1552073" y="0"/>
                </a:lnTo>
                <a:close/>
              </a:path>
            </a:pathLst>
          </a:custGeom>
          <a:solidFill>
            <a:schemeClr val="bg1">
              <a:lumMod val="95000"/>
            </a:schemeClr>
          </a:solid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noAutofit/>
          </a:bodyPr>
          <a:lstStyle/>
          <a:p>
            <a:pPr lvl="0" algn="ctr">
              <a:defRPr/>
            </a:pPr>
            <a:r>
              <a:rPr lang="en-US" sz="1100" i="1" kern="0">
                <a:solidFill>
                  <a:schemeClr val="bg1">
                    <a:lumMod val="50000"/>
                  </a:schemeClr>
                </a:solidFill>
                <a:latin typeface="Verdana" panose="020B0604030504040204" pitchFamily="34" charset="0"/>
                <a:ea typeface="Verdana" panose="020B0604030504040204" pitchFamily="34" charset="0"/>
              </a:rPr>
              <a:t>Drop here</a:t>
            </a:r>
          </a:p>
          <a:p>
            <a:pPr algn="ctr">
              <a:defRPr/>
            </a:pPr>
            <a:r>
              <a:rPr lang="en-US" sz="1100" i="1" kern="0">
                <a:solidFill>
                  <a:schemeClr val="bg1">
                    <a:lumMod val="50000"/>
                  </a:schemeClr>
                </a:solidFill>
                <a:latin typeface="Verdana" panose="020B0604030504040204" pitchFamily="34" charset="0"/>
                <a:ea typeface="Verdana" panose="020B0604030504040204" pitchFamily="34" charset="0"/>
              </a:rPr>
              <a:t>Nº 5</a:t>
            </a:r>
          </a:p>
        </p:txBody>
      </p:sp>
      <p:sp>
        <p:nvSpPr>
          <p:cNvPr id="59" name="Freeform 5">
            <a:extLst>
              <a:ext uri="{FF2B5EF4-FFF2-40B4-BE49-F238E27FC236}">
                <a16:creationId xmlns:a16="http://schemas.microsoft.com/office/drawing/2014/main" id="{B0AF196D-DF01-4C33-8F28-67FF9DD19F08}"/>
              </a:ext>
            </a:extLst>
          </p:cNvPr>
          <p:cNvSpPr>
            <a:spLocks/>
          </p:cNvSpPr>
          <p:nvPr/>
        </p:nvSpPr>
        <p:spPr>
          <a:xfrm>
            <a:off x="5997471" y="5575327"/>
            <a:ext cx="1260000" cy="1087022"/>
          </a:xfrm>
          <a:custGeom>
            <a:avLst/>
            <a:gdLst>
              <a:gd name="connsiteX0" fmla="*/ 1552073 w 6244389"/>
              <a:gd name="connsiteY0" fmla="*/ 0 h 5426243"/>
              <a:gd name="connsiteX1" fmla="*/ 4704347 w 6244389"/>
              <a:gd name="connsiteY1" fmla="*/ 12032 h 5426243"/>
              <a:gd name="connsiteX2" fmla="*/ 6244389 w 6244389"/>
              <a:gd name="connsiteY2" fmla="*/ 2755232 h 5426243"/>
              <a:gd name="connsiteX3" fmla="*/ 4704347 w 6244389"/>
              <a:gd name="connsiteY3" fmla="*/ 5414211 h 5426243"/>
              <a:gd name="connsiteX4" fmla="*/ 1564105 w 6244389"/>
              <a:gd name="connsiteY4" fmla="*/ 5426243 h 5426243"/>
              <a:gd name="connsiteX5" fmla="*/ 0 w 6244389"/>
              <a:gd name="connsiteY5" fmla="*/ 2731169 h 5426243"/>
              <a:gd name="connsiteX6" fmla="*/ 1552073 w 6244389"/>
              <a:gd name="connsiteY6" fmla="*/ 0 h 54262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4389" h="5426243">
                <a:moveTo>
                  <a:pt x="1552073" y="0"/>
                </a:moveTo>
                <a:lnTo>
                  <a:pt x="4704347" y="12032"/>
                </a:lnTo>
                <a:lnTo>
                  <a:pt x="6244389" y="2755232"/>
                </a:lnTo>
                <a:lnTo>
                  <a:pt x="4704347" y="5414211"/>
                </a:lnTo>
                <a:lnTo>
                  <a:pt x="1564105" y="5426243"/>
                </a:lnTo>
                <a:lnTo>
                  <a:pt x="0" y="2731169"/>
                </a:lnTo>
                <a:lnTo>
                  <a:pt x="1552073" y="0"/>
                </a:lnTo>
                <a:close/>
              </a:path>
            </a:pathLst>
          </a:custGeom>
          <a:solidFill>
            <a:schemeClr val="bg1">
              <a:lumMod val="95000"/>
            </a:schemeClr>
          </a:solid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noAutofit/>
          </a:bodyPr>
          <a:lstStyle/>
          <a:p>
            <a:pPr lvl="0" algn="ctr">
              <a:defRPr/>
            </a:pPr>
            <a:r>
              <a:rPr lang="en-US" sz="1100" i="1" kern="0">
                <a:solidFill>
                  <a:schemeClr val="bg1">
                    <a:lumMod val="50000"/>
                  </a:schemeClr>
                </a:solidFill>
                <a:latin typeface="Verdana" panose="020B0604030504040204" pitchFamily="34" charset="0"/>
                <a:ea typeface="Verdana" panose="020B0604030504040204" pitchFamily="34" charset="0"/>
              </a:rPr>
              <a:t>Drop here</a:t>
            </a:r>
          </a:p>
          <a:p>
            <a:pPr algn="ctr">
              <a:defRPr/>
            </a:pPr>
            <a:r>
              <a:rPr lang="en-US" sz="1100" i="1" kern="0">
                <a:solidFill>
                  <a:schemeClr val="bg1">
                    <a:lumMod val="50000"/>
                  </a:schemeClr>
                </a:solidFill>
                <a:latin typeface="Verdana" panose="020B0604030504040204" pitchFamily="34" charset="0"/>
                <a:ea typeface="Verdana" panose="020B0604030504040204" pitchFamily="34" charset="0"/>
              </a:rPr>
              <a:t>Nº 6</a:t>
            </a:r>
          </a:p>
        </p:txBody>
      </p:sp>
      <p:sp>
        <p:nvSpPr>
          <p:cNvPr id="61" name="Freeform 3">
            <a:extLst>
              <a:ext uri="{FF2B5EF4-FFF2-40B4-BE49-F238E27FC236}">
                <a16:creationId xmlns:a16="http://schemas.microsoft.com/office/drawing/2014/main" id="{33C033C6-4014-4B26-9FDB-A0EB2E114F50}"/>
              </a:ext>
            </a:extLst>
          </p:cNvPr>
          <p:cNvSpPr>
            <a:spLocks/>
          </p:cNvSpPr>
          <p:nvPr/>
        </p:nvSpPr>
        <p:spPr>
          <a:xfrm>
            <a:off x="1173006" y="3687349"/>
            <a:ext cx="1260000" cy="1087022"/>
          </a:xfrm>
          <a:custGeom>
            <a:avLst/>
            <a:gdLst>
              <a:gd name="connsiteX0" fmla="*/ 1552073 w 6244389"/>
              <a:gd name="connsiteY0" fmla="*/ 0 h 5426243"/>
              <a:gd name="connsiteX1" fmla="*/ 4704347 w 6244389"/>
              <a:gd name="connsiteY1" fmla="*/ 12032 h 5426243"/>
              <a:gd name="connsiteX2" fmla="*/ 6244389 w 6244389"/>
              <a:gd name="connsiteY2" fmla="*/ 2755232 h 5426243"/>
              <a:gd name="connsiteX3" fmla="*/ 4704347 w 6244389"/>
              <a:gd name="connsiteY3" fmla="*/ 5414211 h 5426243"/>
              <a:gd name="connsiteX4" fmla="*/ 1564105 w 6244389"/>
              <a:gd name="connsiteY4" fmla="*/ 5426243 h 5426243"/>
              <a:gd name="connsiteX5" fmla="*/ 0 w 6244389"/>
              <a:gd name="connsiteY5" fmla="*/ 2731169 h 5426243"/>
              <a:gd name="connsiteX6" fmla="*/ 1552073 w 6244389"/>
              <a:gd name="connsiteY6" fmla="*/ 0 h 54262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4389" h="5426243">
                <a:moveTo>
                  <a:pt x="1552073" y="0"/>
                </a:moveTo>
                <a:lnTo>
                  <a:pt x="4704347" y="12032"/>
                </a:lnTo>
                <a:lnTo>
                  <a:pt x="6244389" y="2755232"/>
                </a:lnTo>
                <a:lnTo>
                  <a:pt x="4704347" y="5414211"/>
                </a:lnTo>
                <a:lnTo>
                  <a:pt x="1564105" y="5426243"/>
                </a:lnTo>
                <a:lnTo>
                  <a:pt x="0" y="2731169"/>
                </a:lnTo>
                <a:lnTo>
                  <a:pt x="1552073" y="0"/>
                </a:lnTo>
                <a:close/>
              </a:path>
            </a:pathLst>
          </a:cu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noAutofit/>
          </a:bodyPr>
          <a:lstStyle/>
          <a:p>
            <a:pPr lvl="0" algn="ctr">
              <a:defRPr/>
            </a:pPr>
            <a:r>
              <a:rPr lang="en-GB" sz="1100" kern="0">
                <a:solidFill>
                  <a:prstClr val="white"/>
                </a:solidFill>
                <a:latin typeface="Verdana" panose="020B0604030504040204" pitchFamily="34" charset="0"/>
                <a:ea typeface="Verdana" panose="020B0604030504040204" pitchFamily="34" charset="0"/>
              </a:rPr>
              <a:t>Fill in the details of the sponsor organisation</a:t>
            </a:r>
            <a:endParaRPr kumimoji="0" lang="en-US" sz="1100" b="0" i="0" u="none" strike="noStrike" kern="0" cap="none" spc="0" normalizeH="0" baseline="0" noProof="0">
              <a:ln>
                <a:noFill/>
              </a:ln>
              <a:solidFill>
                <a:prstClr val="white"/>
              </a:solidFill>
              <a:effectLst/>
              <a:uLnTx/>
              <a:uFillTx/>
              <a:latin typeface="Verdana" panose="020B0604030504040204" pitchFamily="34" charset="0"/>
              <a:ea typeface="Verdana" panose="020B0604030504040204" pitchFamily="34" charset="0"/>
            </a:endParaRPr>
          </a:p>
        </p:txBody>
      </p:sp>
      <p:sp>
        <p:nvSpPr>
          <p:cNvPr id="62" name="Freeform 34">
            <a:extLst>
              <a:ext uri="{FF2B5EF4-FFF2-40B4-BE49-F238E27FC236}">
                <a16:creationId xmlns:a16="http://schemas.microsoft.com/office/drawing/2014/main" id="{EF37E1F5-05EF-420C-B000-7208C8A86639}"/>
              </a:ext>
            </a:extLst>
          </p:cNvPr>
          <p:cNvSpPr>
            <a:spLocks/>
          </p:cNvSpPr>
          <p:nvPr/>
        </p:nvSpPr>
        <p:spPr>
          <a:xfrm>
            <a:off x="5324298" y="3713785"/>
            <a:ext cx="1260000" cy="1087022"/>
          </a:xfrm>
          <a:custGeom>
            <a:avLst/>
            <a:gdLst>
              <a:gd name="connsiteX0" fmla="*/ 1552073 w 6244389"/>
              <a:gd name="connsiteY0" fmla="*/ 0 h 5426243"/>
              <a:gd name="connsiteX1" fmla="*/ 4704347 w 6244389"/>
              <a:gd name="connsiteY1" fmla="*/ 12032 h 5426243"/>
              <a:gd name="connsiteX2" fmla="*/ 6244389 w 6244389"/>
              <a:gd name="connsiteY2" fmla="*/ 2755232 h 5426243"/>
              <a:gd name="connsiteX3" fmla="*/ 4704347 w 6244389"/>
              <a:gd name="connsiteY3" fmla="*/ 5414211 h 5426243"/>
              <a:gd name="connsiteX4" fmla="*/ 1564105 w 6244389"/>
              <a:gd name="connsiteY4" fmla="*/ 5426243 h 5426243"/>
              <a:gd name="connsiteX5" fmla="*/ 0 w 6244389"/>
              <a:gd name="connsiteY5" fmla="*/ 2731169 h 5426243"/>
              <a:gd name="connsiteX6" fmla="*/ 1552073 w 6244389"/>
              <a:gd name="connsiteY6" fmla="*/ 0 h 54262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4389" h="5426243">
                <a:moveTo>
                  <a:pt x="1552073" y="0"/>
                </a:moveTo>
                <a:lnTo>
                  <a:pt x="4704347" y="12032"/>
                </a:lnTo>
                <a:lnTo>
                  <a:pt x="6244389" y="2755232"/>
                </a:lnTo>
                <a:lnTo>
                  <a:pt x="4704347" y="5414211"/>
                </a:lnTo>
                <a:lnTo>
                  <a:pt x="1564105" y="5426243"/>
                </a:lnTo>
                <a:lnTo>
                  <a:pt x="0" y="2731169"/>
                </a:lnTo>
                <a:lnTo>
                  <a:pt x="1552073" y="0"/>
                </a:lnTo>
                <a:close/>
              </a:path>
            </a:pathLst>
          </a:custGeom>
          <a:solidFill>
            <a:srgbClr val="ED7D3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noAutofit/>
          </a:bodyPr>
          <a:lstStyle/>
          <a:p>
            <a:pPr algn="ctr"/>
            <a:r>
              <a:rPr lang="en-US" sz="1100" kern="0">
                <a:solidFill>
                  <a:prstClr val="white"/>
                </a:solidFill>
                <a:latin typeface="Verdana" panose="020B0604030504040204" pitchFamily="34" charset="0"/>
                <a:ea typeface="Verdana" panose="020B0604030504040204" pitchFamily="34" charset="0"/>
              </a:rPr>
              <a:t>Write the response to each consideration</a:t>
            </a:r>
          </a:p>
        </p:txBody>
      </p:sp>
      <p:sp>
        <p:nvSpPr>
          <p:cNvPr id="63" name="Freeform 3 - 1">
            <a:extLst>
              <a:ext uri="{FF2B5EF4-FFF2-40B4-BE49-F238E27FC236}">
                <a16:creationId xmlns:a16="http://schemas.microsoft.com/office/drawing/2014/main" id="{EFB27CB7-B408-4749-B527-55DA52763564}"/>
              </a:ext>
            </a:extLst>
          </p:cNvPr>
          <p:cNvSpPr>
            <a:spLocks/>
          </p:cNvSpPr>
          <p:nvPr/>
        </p:nvSpPr>
        <p:spPr>
          <a:xfrm>
            <a:off x="6466493" y="2946751"/>
            <a:ext cx="1260000" cy="1087022"/>
          </a:xfrm>
          <a:custGeom>
            <a:avLst/>
            <a:gdLst>
              <a:gd name="connsiteX0" fmla="*/ 1552073 w 6244389"/>
              <a:gd name="connsiteY0" fmla="*/ 0 h 5426243"/>
              <a:gd name="connsiteX1" fmla="*/ 4704347 w 6244389"/>
              <a:gd name="connsiteY1" fmla="*/ 12032 h 5426243"/>
              <a:gd name="connsiteX2" fmla="*/ 6244389 w 6244389"/>
              <a:gd name="connsiteY2" fmla="*/ 2755232 h 5426243"/>
              <a:gd name="connsiteX3" fmla="*/ 4704347 w 6244389"/>
              <a:gd name="connsiteY3" fmla="*/ 5414211 h 5426243"/>
              <a:gd name="connsiteX4" fmla="*/ 1564105 w 6244389"/>
              <a:gd name="connsiteY4" fmla="*/ 5426243 h 5426243"/>
              <a:gd name="connsiteX5" fmla="*/ 0 w 6244389"/>
              <a:gd name="connsiteY5" fmla="*/ 2731169 h 5426243"/>
              <a:gd name="connsiteX6" fmla="*/ 1552073 w 6244389"/>
              <a:gd name="connsiteY6" fmla="*/ 0 h 54262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4389" h="5426243">
                <a:moveTo>
                  <a:pt x="1552073" y="0"/>
                </a:moveTo>
                <a:lnTo>
                  <a:pt x="4704347" y="12032"/>
                </a:lnTo>
                <a:lnTo>
                  <a:pt x="6244389" y="2755232"/>
                </a:lnTo>
                <a:lnTo>
                  <a:pt x="4704347" y="5414211"/>
                </a:lnTo>
                <a:lnTo>
                  <a:pt x="1564105" y="5426243"/>
                </a:lnTo>
                <a:lnTo>
                  <a:pt x="0" y="2731169"/>
                </a:lnTo>
                <a:lnTo>
                  <a:pt x="1552073" y="0"/>
                </a:lnTo>
                <a:close/>
              </a:path>
            </a:pathLst>
          </a:cu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noAutofit/>
          </a:bodyPr>
          <a:lstStyle/>
          <a:p>
            <a:pPr algn="ctr"/>
            <a:r>
              <a:rPr lang="en-GB" sz="1100" kern="0">
                <a:solidFill>
                  <a:prstClr val="white"/>
                </a:solidFill>
                <a:latin typeface="Verdana" panose="020B0604030504040204" pitchFamily="34" charset="0"/>
                <a:ea typeface="Verdana" panose="020B0604030504040204" pitchFamily="34" charset="0"/>
              </a:rPr>
              <a:t>Fill in the details of the ASR reporting period</a:t>
            </a:r>
          </a:p>
        </p:txBody>
      </p:sp>
      <p:sp>
        <p:nvSpPr>
          <p:cNvPr id="64" name="Freeform 58">
            <a:extLst>
              <a:ext uri="{FF2B5EF4-FFF2-40B4-BE49-F238E27FC236}">
                <a16:creationId xmlns:a16="http://schemas.microsoft.com/office/drawing/2014/main" id="{1BA4372E-D836-4F50-9317-A4225657A6AD}"/>
              </a:ext>
            </a:extLst>
          </p:cNvPr>
          <p:cNvSpPr>
            <a:spLocks/>
          </p:cNvSpPr>
          <p:nvPr/>
        </p:nvSpPr>
        <p:spPr>
          <a:xfrm>
            <a:off x="3248652" y="3712749"/>
            <a:ext cx="1260000" cy="1087022"/>
          </a:xfrm>
          <a:custGeom>
            <a:avLst/>
            <a:gdLst>
              <a:gd name="connsiteX0" fmla="*/ 1552073 w 6244389"/>
              <a:gd name="connsiteY0" fmla="*/ 0 h 5426243"/>
              <a:gd name="connsiteX1" fmla="*/ 4704347 w 6244389"/>
              <a:gd name="connsiteY1" fmla="*/ 12032 h 5426243"/>
              <a:gd name="connsiteX2" fmla="*/ 6244389 w 6244389"/>
              <a:gd name="connsiteY2" fmla="*/ 2755232 h 5426243"/>
              <a:gd name="connsiteX3" fmla="*/ 4704347 w 6244389"/>
              <a:gd name="connsiteY3" fmla="*/ 5414211 h 5426243"/>
              <a:gd name="connsiteX4" fmla="*/ 1564105 w 6244389"/>
              <a:gd name="connsiteY4" fmla="*/ 5426243 h 5426243"/>
              <a:gd name="connsiteX5" fmla="*/ 0 w 6244389"/>
              <a:gd name="connsiteY5" fmla="*/ 2731169 h 5426243"/>
              <a:gd name="connsiteX6" fmla="*/ 1552073 w 6244389"/>
              <a:gd name="connsiteY6" fmla="*/ 0 h 54262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4389" h="5426243">
                <a:moveTo>
                  <a:pt x="1552073" y="0"/>
                </a:moveTo>
                <a:lnTo>
                  <a:pt x="4704347" y="12032"/>
                </a:lnTo>
                <a:lnTo>
                  <a:pt x="6244389" y="2755232"/>
                </a:lnTo>
                <a:lnTo>
                  <a:pt x="4704347" y="5414211"/>
                </a:lnTo>
                <a:lnTo>
                  <a:pt x="1564105" y="5426243"/>
                </a:lnTo>
                <a:lnTo>
                  <a:pt x="0" y="2731169"/>
                </a:lnTo>
                <a:lnTo>
                  <a:pt x="1552073" y="0"/>
                </a:lnTo>
                <a:close/>
              </a:path>
            </a:pathLst>
          </a:cu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noAutofit/>
          </a:bodyPr>
          <a:lstStyle/>
          <a:p>
            <a:pPr algn="ctr"/>
            <a:r>
              <a:rPr kumimoji="0" lang="en-GB" sz="1100" b="0" i="0" u="none" strike="noStrike" kern="0" cap="none" spc="0" normalizeH="0" baseline="0" noProof="0">
                <a:ln>
                  <a:noFill/>
                </a:ln>
                <a:solidFill>
                  <a:prstClr val="white"/>
                </a:solidFill>
                <a:effectLst/>
                <a:uLnTx/>
                <a:uFillTx/>
                <a:latin typeface="Verdana" panose="020B0604030504040204" pitchFamily="34" charset="0"/>
                <a:ea typeface="Verdana" panose="020B0604030504040204" pitchFamily="34" charset="0"/>
              </a:rPr>
              <a:t>Submit the RFI response</a:t>
            </a:r>
            <a:endParaRPr kumimoji="0" lang="en-US" sz="1100" b="0" i="0" u="none" strike="noStrike" kern="0" cap="none" spc="0" normalizeH="0" baseline="0" noProof="0">
              <a:ln>
                <a:noFill/>
              </a:ln>
              <a:solidFill>
                <a:prstClr val="white"/>
              </a:solidFill>
              <a:effectLst/>
              <a:uLnTx/>
              <a:uFillTx/>
              <a:latin typeface="Verdana" panose="020B0604030504040204" pitchFamily="34" charset="0"/>
              <a:ea typeface="Verdana" panose="020B0604030504040204" pitchFamily="34" charset="0"/>
            </a:endParaRPr>
          </a:p>
        </p:txBody>
      </p:sp>
      <p:sp>
        <p:nvSpPr>
          <p:cNvPr id="65" name="Freeform 5 - 1">
            <a:extLst>
              <a:ext uri="{FF2B5EF4-FFF2-40B4-BE49-F238E27FC236}">
                <a16:creationId xmlns:a16="http://schemas.microsoft.com/office/drawing/2014/main" id="{195AFE22-D2D3-4280-AC45-B3F07DF0DD4B}"/>
              </a:ext>
            </a:extLst>
          </p:cNvPr>
          <p:cNvSpPr>
            <a:spLocks/>
          </p:cNvSpPr>
          <p:nvPr/>
        </p:nvSpPr>
        <p:spPr>
          <a:xfrm>
            <a:off x="2210829" y="2946751"/>
            <a:ext cx="1260000" cy="1087022"/>
          </a:xfrm>
          <a:custGeom>
            <a:avLst/>
            <a:gdLst>
              <a:gd name="connsiteX0" fmla="*/ 1552073 w 6244389"/>
              <a:gd name="connsiteY0" fmla="*/ 0 h 5426243"/>
              <a:gd name="connsiteX1" fmla="*/ 4704347 w 6244389"/>
              <a:gd name="connsiteY1" fmla="*/ 12032 h 5426243"/>
              <a:gd name="connsiteX2" fmla="*/ 6244389 w 6244389"/>
              <a:gd name="connsiteY2" fmla="*/ 2755232 h 5426243"/>
              <a:gd name="connsiteX3" fmla="*/ 4704347 w 6244389"/>
              <a:gd name="connsiteY3" fmla="*/ 5414211 h 5426243"/>
              <a:gd name="connsiteX4" fmla="*/ 1564105 w 6244389"/>
              <a:gd name="connsiteY4" fmla="*/ 5426243 h 5426243"/>
              <a:gd name="connsiteX5" fmla="*/ 0 w 6244389"/>
              <a:gd name="connsiteY5" fmla="*/ 2731169 h 5426243"/>
              <a:gd name="connsiteX6" fmla="*/ 1552073 w 6244389"/>
              <a:gd name="connsiteY6" fmla="*/ 0 h 54262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4389" h="5426243">
                <a:moveTo>
                  <a:pt x="1552073" y="0"/>
                </a:moveTo>
                <a:lnTo>
                  <a:pt x="4704347" y="12032"/>
                </a:lnTo>
                <a:lnTo>
                  <a:pt x="6244389" y="2755232"/>
                </a:lnTo>
                <a:lnTo>
                  <a:pt x="4704347" y="5414211"/>
                </a:lnTo>
                <a:lnTo>
                  <a:pt x="1564105" y="5426243"/>
                </a:lnTo>
                <a:lnTo>
                  <a:pt x="0" y="2731169"/>
                </a:lnTo>
                <a:lnTo>
                  <a:pt x="1552073" y="0"/>
                </a:lnTo>
                <a:close/>
              </a:path>
            </a:pathLst>
          </a:cu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noAutofit/>
          </a:bodyPr>
          <a:lstStyle/>
          <a:p>
            <a:pPr algn="ctr"/>
            <a:r>
              <a:rPr lang="en-GB" sz="1100" kern="0">
                <a:solidFill>
                  <a:prstClr val="white"/>
                </a:solidFill>
                <a:latin typeface="Verdana" panose="020B0604030504040204" pitchFamily="34" charset="0"/>
                <a:ea typeface="Verdana" panose="020B0604030504040204" pitchFamily="34" charset="0"/>
              </a:rPr>
              <a:t>Add any supporting documents</a:t>
            </a:r>
          </a:p>
        </p:txBody>
      </p:sp>
      <p:sp>
        <p:nvSpPr>
          <p:cNvPr id="66" name="Freeform 60">
            <a:extLst>
              <a:ext uri="{FF2B5EF4-FFF2-40B4-BE49-F238E27FC236}">
                <a16:creationId xmlns:a16="http://schemas.microsoft.com/office/drawing/2014/main" id="{636918DA-E5DA-42D3-952E-1C2E09E38DBB}"/>
              </a:ext>
            </a:extLst>
          </p:cNvPr>
          <p:cNvSpPr>
            <a:spLocks/>
          </p:cNvSpPr>
          <p:nvPr/>
        </p:nvSpPr>
        <p:spPr>
          <a:xfrm>
            <a:off x="4286475" y="2948684"/>
            <a:ext cx="1260000" cy="1087022"/>
          </a:xfrm>
          <a:custGeom>
            <a:avLst/>
            <a:gdLst>
              <a:gd name="connsiteX0" fmla="*/ 1552073 w 6244389"/>
              <a:gd name="connsiteY0" fmla="*/ 0 h 5426243"/>
              <a:gd name="connsiteX1" fmla="*/ 4704347 w 6244389"/>
              <a:gd name="connsiteY1" fmla="*/ 12032 h 5426243"/>
              <a:gd name="connsiteX2" fmla="*/ 6244389 w 6244389"/>
              <a:gd name="connsiteY2" fmla="*/ 2755232 h 5426243"/>
              <a:gd name="connsiteX3" fmla="*/ 4704347 w 6244389"/>
              <a:gd name="connsiteY3" fmla="*/ 5414211 h 5426243"/>
              <a:gd name="connsiteX4" fmla="*/ 1564105 w 6244389"/>
              <a:gd name="connsiteY4" fmla="*/ 5426243 h 5426243"/>
              <a:gd name="connsiteX5" fmla="*/ 0 w 6244389"/>
              <a:gd name="connsiteY5" fmla="*/ 2731169 h 5426243"/>
              <a:gd name="connsiteX6" fmla="*/ 1552073 w 6244389"/>
              <a:gd name="connsiteY6" fmla="*/ 0 h 54262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4389" h="5426243">
                <a:moveTo>
                  <a:pt x="1552073" y="0"/>
                </a:moveTo>
                <a:lnTo>
                  <a:pt x="4704347" y="12032"/>
                </a:lnTo>
                <a:lnTo>
                  <a:pt x="6244389" y="2755232"/>
                </a:lnTo>
                <a:lnTo>
                  <a:pt x="4704347" y="5414211"/>
                </a:lnTo>
                <a:lnTo>
                  <a:pt x="1564105" y="5426243"/>
                </a:lnTo>
                <a:lnTo>
                  <a:pt x="0" y="2731169"/>
                </a:lnTo>
                <a:lnTo>
                  <a:pt x="1552073" y="0"/>
                </a:lnTo>
                <a:close/>
              </a:path>
            </a:pathLst>
          </a:custGeom>
          <a:solidFill>
            <a:srgbClr val="ED7D3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noAutofit/>
          </a:bodyPr>
          <a:lstStyle/>
          <a:p>
            <a:pPr algn="ctr"/>
            <a:r>
              <a:rPr lang="en-GB" sz="1100" kern="0">
                <a:solidFill>
                  <a:prstClr val="white"/>
                </a:solidFill>
                <a:latin typeface="Verdana" panose="020B0604030504040204" pitchFamily="34" charset="0"/>
                <a:ea typeface="Verdana" panose="020B0604030504040204" pitchFamily="34" charset="0"/>
              </a:rPr>
              <a:t>Fill in the details of the clinical trial</a:t>
            </a:r>
          </a:p>
        </p:txBody>
      </p:sp>
      <p:sp>
        <p:nvSpPr>
          <p:cNvPr id="67" name="Rounded Rectangle 61">
            <a:extLst>
              <a:ext uri="{FF2B5EF4-FFF2-40B4-BE49-F238E27FC236}">
                <a16:creationId xmlns:a16="http://schemas.microsoft.com/office/drawing/2014/main" id="{4ABDEF45-03AA-452E-8CF3-26AC00D9B9C1}"/>
              </a:ext>
            </a:extLst>
          </p:cNvPr>
          <p:cNvSpPr/>
          <p:nvPr/>
        </p:nvSpPr>
        <p:spPr>
          <a:xfrm>
            <a:off x="-47536" y="5276169"/>
            <a:ext cx="1219683" cy="639724"/>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a:solidFill>
                  <a:schemeClr val="tx1"/>
                </a:solidFill>
                <a:latin typeface="Verdana" panose="020B0604030504040204" pitchFamily="34" charset="0"/>
                <a:ea typeface="Verdana" panose="020B0604030504040204" pitchFamily="34" charset="0"/>
              </a:rPr>
              <a:t>Solution:</a:t>
            </a:r>
          </a:p>
        </p:txBody>
      </p:sp>
      <p:sp>
        <p:nvSpPr>
          <p:cNvPr id="68" name="Freeform 5">
            <a:extLst>
              <a:ext uri="{FF2B5EF4-FFF2-40B4-BE49-F238E27FC236}">
                <a16:creationId xmlns:a16="http://schemas.microsoft.com/office/drawing/2014/main" id="{A874F2D1-FC3B-4BC6-B2AF-4C4AED141FFD}"/>
              </a:ext>
            </a:extLst>
          </p:cNvPr>
          <p:cNvSpPr>
            <a:spLocks/>
          </p:cNvSpPr>
          <p:nvPr/>
        </p:nvSpPr>
        <p:spPr>
          <a:xfrm>
            <a:off x="6986238" y="5025539"/>
            <a:ext cx="1260000" cy="1087022"/>
          </a:xfrm>
          <a:custGeom>
            <a:avLst/>
            <a:gdLst>
              <a:gd name="connsiteX0" fmla="*/ 1552073 w 6244389"/>
              <a:gd name="connsiteY0" fmla="*/ 0 h 5426243"/>
              <a:gd name="connsiteX1" fmla="*/ 4704347 w 6244389"/>
              <a:gd name="connsiteY1" fmla="*/ 12032 h 5426243"/>
              <a:gd name="connsiteX2" fmla="*/ 6244389 w 6244389"/>
              <a:gd name="connsiteY2" fmla="*/ 2755232 h 5426243"/>
              <a:gd name="connsiteX3" fmla="*/ 4704347 w 6244389"/>
              <a:gd name="connsiteY3" fmla="*/ 5414211 h 5426243"/>
              <a:gd name="connsiteX4" fmla="*/ 1564105 w 6244389"/>
              <a:gd name="connsiteY4" fmla="*/ 5426243 h 5426243"/>
              <a:gd name="connsiteX5" fmla="*/ 0 w 6244389"/>
              <a:gd name="connsiteY5" fmla="*/ 2731169 h 5426243"/>
              <a:gd name="connsiteX6" fmla="*/ 1552073 w 6244389"/>
              <a:gd name="connsiteY6" fmla="*/ 0 h 54262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4389" h="5426243">
                <a:moveTo>
                  <a:pt x="1552073" y="0"/>
                </a:moveTo>
                <a:lnTo>
                  <a:pt x="4704347" y="12032"/>
                </a:lnTo>
                <a:lnTo>
                  <a:pt x="6244389" y="2755232"/>
                </a:lnTo>
                <a:lnTo>
                  <a:pt x="4704347" y="5414211"/>
                </a:lnTo>
                <a:lnTo>
                  <a:pt x="1564105" y="5426243"/>
                </a:lnTo>
                <a:lnTo>
                  <a:pt x="0" y="2731169"/>
                </a:lnTo>
                <a:lnTo>
                  <a:pt x="1552073" y="0"/>
                </a:lnTo>
                <a:close/>
              </a:path>
            </a:pathLst>
          </a:custGeom>
          <a:solidFill>
            <a:schemeClr val="bg1">
              <a:lumMod val="95000"/>
            </a:schemeClr>
          </a:solid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noAutofit/>
          </a:bodyPr>
          <a:lstStyle/>
          <a:p>
            <a:pPr lvl="0" algn="ctr">
              <a:defRPr/>
            </a:pPr>
            <a:r>
              <a:rPr lang="en-US" sz="1100" i="1" kern="0">
                <a:solidFill>
                  <a:schemeClr val="bg1">
                    <a:lumMod val="50000"/>
                  </a:schemeClr>
                </a:solidFill>
                <a:latin typeface="Verdana" panose="020B0604030504040204" pitchFamily="34" charset="0"/>
                <a:ea typeface="Verdana" panose="020B0604030504040204" pitchFamily="34" charset="0"/>
              </a:rPr>
              <a:t>Drop here</a:t>
            </a:r>
          </a:p>
          <a:p>
            <a:pPr algn="ctr">
              <a:defRPr/>
            </a:pPr>
            <a:r>
              <a:rPr lang="en-US" sz="1100" i="1" kern="0">
                <a:solidFill>
                  <a:schemeClr val="bg1">
                    <a:lumMod val="50000"/>
                  </a:schemeClr>
                </a:solidFill>
                <a:latin typeface="Verdana" panose="020B0604030504040204" pitchFamily="34" charset="0"/>
                <a:ea typeface="Verdana" panose="020B0604030504040204" pitchFamily="34" charset="0"/>
              </a:rPr>
              <a:t>Nº 7</a:t>
            </a:r>
          </a:p>
        </p:txBody>
      </p:sp>
      <p:sp>
        <p:nvSpPr>
          <p:cNvPr id="69" name="Freeform 5 - 1">
            <a:extLst>
              <a:ext uri="{FF2B5EF4-FFF2-40B4-BE49-F238E27FC236}">
                <a16:creationId xmlns:a16="http://schemas.microsoft.com/office/drawing/2014/main" id="{0C1887A0-4B4A-4DCF-965F-3B5F89578299}"/>
              </a:ext>
            </a:extLst>
          </p:cNvPr>
          <p:cNvSpPr>
            <a:spLocks/>
          </p:cNvSpPr>
          <p:nvPr/>
        </p:nvSpPr>
        <p:spPr>
          <a:xfrm>
            <a:off x="7504316" y="3687349"/>
            <a:ext cx="1260000" cy="1087022"/>
          </a:xfrm>
          <a:custGeom>
            <a:avLst/>
            <a:gdLst>
              <a:gd name="connsiteX0" fmla="*/ 1552073 w 6244389"/>
              <a:gd name="connsiteY0" fmla="*/ 0 h 5426243"/>
              <a:gd name="connsiteX1" fmla="*/ 4704347 w 6244389"/>
              <a:gd name="connsiteY1" fmla="*/ 12032 h 5426243"/>
              <a:gd name="connsiteX2" fmla="*/ 6244389 w 6244389"/>
              <a:gd name="connsiteY2" fmla="*/ 2755232 h 5426243"/>
              <a:gd name="connsiteX3" fmla="*/ 4704347 w 6244389"/>
              <a:gd name="connsiteY3" fmla="*/ 5414211 h 5426243"/>
              <a:gd name="connsiteX4" fmla="*/ 1564105 w 6244389"/>
              <a:gd name="connsiteY4" fmla="*/ 5426243 h 5426243"/>
              <a:gd name="connsiteX5" fmla="*/ 0 w 6244389"/>
              <a:gd name="connsiteY5" fmla="*/ 2731169 h 5426243"/>
              <a:gd name="connsiteX6" fmla="*/ 1552073 w 6244389"/>
              <a:gd name="connsiteY6" fmla="*/ 0 h 54262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4389" h="5426243">
                <a:moveTo>
                  <a:pt x="1552073" y="0"/>
                </a:moveTo>
                <a:lnTo>
                  <a:pt x="4704347" y="12032"/>
                </a:lnTo>
                <a:lnTo>
                  <a:pt x="6244389" y="2755232"/>
                </a:lnTo>
                <a:lnTo>
                  <a:pt x="4704347" y="5414211"/>
                </a:lnTo>
                <a:lnTo>
                  <a:pt x="1564105" y="5426243"/>
                </a:lnTo>
                <a:lnTo>
                  <a:pt x="0" y="2731169"/>
                </a:lnTo>
                <a:lnTo>
                  <a:pt x="1552073" y="0"/>
                </a:lnTo>
                <a:close/>
              </a:path>
            </a:pathLst>
          </a:cu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noAutofit/>
          </a:bodyPr>
          <a:lstStyle/>
          <a:p>
            <a:pPr algn="ctr"/>
            <a:r>
              <a:rPr lang="en-GB" sz="1100" kern="0">
                <a:solidFill>
                  <a:prstClr val="white"/>
                </a:solidFill>
                <a:latin typeface="Verdana" panose="020B0604030504040204" pitchFamily="34" charset="0"/>
                <a:ea typeface="Verdana" panose="020B0604030504040204" pitchFamily="34" charset="0"/>
              </a:rPr>
              <a:t>Search and open the RFI</a:t>
            </a:r>
            <a:endParaRPr lang="en-US" sz="1100" kern="0">
              <a:solidFill>
                <a:prstClr val="white"/>
              </a:solidFill>
              <a:latin typeface="Verdana" panose="020B0604030504040204" pitchFamily="34" charset="0"/>
              <a:ea typeface="Verdana" panose="020B0604030504040204" pitchFamily="34" charset="0"/>
            </a:endParaRPr>
          </a:p>
        </p:txBody>
      </p:sp>
      <p:sp>
        <p:nvSpPr>
          <p:cNvPr id="70" name="Freeform 58">
            <a:extLst>
              <a:ext uri="{FF2B5EF4-FFF2-40B4-BE49-F238E27FC236}">
                <a16:creationId xmlns:a16="http://schemas.microsoft.com/office/drawing/2014/main" id="{533576E9-1589-4AF0-9E84-B562A76E0902}"/>
              </a:ext>
            </a:extLst>
          </p:cNvPr>
          <p:cNvSpPr>
            <a:spLocks/>
          </p:cNvSpPr>
          <p:nvPr/>
        </p:nvSpPr>
        <p:spPr>
          <a:xfrm>
            <a:off x="8570371" y="2946751"/>
            <a:ext cx="1260000" cy="1087022"/>
          </a:xfrm>
          <a:custGeom>
            <a:avLst/>
            <a:gdLst>
              <a:gd name="connsiteX0" fmla="*/ 1552073 w 6244389"/>
              <a:gd name="connsiteY0" fmla="*/ 0 h 5426243"/>
              <a:gd name="connsiteX1" fmla="*/ 4704347 w 6244389"/>
              <a:gd name="connsiteY1" fmla="*/ 12032 h 5426243"/>
              <a:gd name="connsiteX2" fmla="*/ 6244389 w 6244389"/>
              <a:gd name="connsiteY2" fmla="*/ 2755232 h 5426243"/>
              <a:gd name="connsiteX3" fmla="*/ 4704347 w 6244389"/>
              <a:gd name="connsiteY3" fmla="*/ 5414211 h 5426243"/>
              <a:gd name="connsiteX4" fmla="*/ 1564105 w 6244389"/>
              <a:gd name="connsiteY4" fmla="*/ 5426243 h 5426243"/>
              <a:gd name="connsiteX5" fmla="*/ 0 w 6244389"/>
              <a:gd name="connsiteY5" fmla="*/ 2731169 h 5426243"/>
              <a:gd name="connsiteX6" fmla="*/ 1552073 w 6244389"/>
              <a:gd name="connsiteY6" fmla="*/ 0 h 54262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4389" h="5426243">
                <a:moveTo>
                  <a:pt x="1552073" y="0"/>
                </a:moveTo>
                <a:lnTo>
                  <a:pt x="4704347" y="12032"/>
                </a:lnTo>
                <a:lnTo>
                  <a:pt x="6244389" y="2755232"/>
                </a:lnTo>
                <a:lnTo>
                  <a:pt x="4704347" y="5414211"/>
                </a:lnTo>
                <a:lnTo>
                  <a:pt x="1564105" y="5426243"/>
                </a:lnTo>
                <a:lnTo>
                  <a:pt x="0" y="2731169"/>
                </a:lnTo>
                <a:lnTo>
                  <a:pt x="1552073" y="0"/>
                </a:lnTo>
                <a:close/>
              </a:path>
            </a:pathLst>
          </a:cu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noAutofit/>
          </a:bodyPr>
          <a:lstStyle/>
          <a:p>
            <a:pPr algn="ctr"/>
            <a:r>
              <a:rPr lang="en-US" sz="1100" kern="0">
                <a:solidFill>
                  <a:prstClr val="white"/>
                </a:solidFill>
                <a:latin typeface="Verdana" panose="020B0604030504040204" pitchFamily="34" charset="0"/>
                <a:ea typeface="Verdana" panose="020B0604030504040204" pitchFamily="34" charset="0"/>
              </a:rPr>
              <a:t>Submit the ASR form </a:t>
            </a:r>
          </a:p>
        </p:txBody>
      </p:sp>
      <p:sp>
        <p:nvSpPr>
          <p:cNvPr id="71" name="Freeform 60">
            <a:extLst>
              <a:ext uri="{FF2B5EF4-FFF2-40B4-BE49-F238E27FC236}">
                <a16:creationId xmlns:a16="http://schemas.microsoft.com/office/drawing/2014/main" id="{623E2A8D-56D5-4A3F-8129-5596CF36B85E}"/>
              </a:ext>
            </a:extLst>
          </p:cNvPr>
          <p:cNvSpPr>
            <a:spLocks/>
          </p:cNvSpPr>
          <p:nvPr/>
        </p:nvSpPr>
        <p:spPr>
          <a:xfrm>
            <a:off x="9579962" y="3687349"/>
            <a:ext cx="1260000" cy="1087022"/>
          </a:xfrm>
          <a:custGeom>
            <a:avLst/>
            <a:gdLst>
              <a:gd name="connsiteX0" fmla="*/ 1552073 w 6244389"/>
              <a:gd name="connsiteY0" fmla="*/ 0 h 5426243"/>
              <a:gd name="connsiteX1" fmla="*/ 4704347 w 6244389"/>
              <a:gd name="connsiteY1" fmla="*/ 12032 h 5426243"/>
              <a:gd name="connsiteX2" fmla="*/ 6244389 w 6244389"/>
              <a:gd name="connsiteY2" fmla="*/ 2755232 h 5426243"/>
              <a:gd name="connsiteX3" fmla="*/ 4704347 w 6244389"/>
              <a:gd name="connsiteY3" fmla="*/ 5414211 h 5426243"/>
              <a:gd name="connsiteX4" fmla="*/ 1564105 w 6244389"/>
              <a:gd name="connsiteY4" fmla="*/ 5426243 h 5426243"/>
              <a:gd name="connsiteX5" fmla="*/ 0 w 6244389"/>
              <a:gd name="connsiteY5" fmla="*/ 2731169 h 5426243"/>
              <a:gd name="connsiteX6" fmla="*/ 1552073 w 6244389"/>
              <a:gd name="connsiteY6" fmla="*/ 0 h 54262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4389" h="5426243">
                <a:moveTo>
                  <a:pt x="1552073" y="0"/>
                </a:moveTo>
                <a:lnTo>
                  <a:pt x="4704347" y="12032"/>
                </a:lnTo>
                <a:lnTo>
                  <a:pt x="6244389" y="2755232"/>
                </a:lnTo>
                <a:lnTo>
                  <a:pt x="4704347" y="5414211"/>
                </a:lnTo>
                <a:lnTo>
                  <a:pt x="1564105" y="5426243"/>
                </a:lnTo>
                <a:lnTo>
                  <a:pt x="0" y="2731169"/>
                </a:lnTo>
                <a:lnTo>
                  <a:pt x="1552073" y="0"/>
                </a:lnTo>
                <a:close/>
              </a:path>
            </a:pathLst>
          </a:custGeom>
          <a:solidFill>
            <a:srgbClr val="ED7D3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noAutofit/>
          </a:bodyPr>
          <a:lstStyle/>
          <a:p>
            <a:pPr algn="ctr"/>
            <a:r>
              <a:rPr lang="en-GB" sz="1100" kern="0" dirty="0">
                <a:solidFill>
                  <a:prstClr val="white"/>
                </a:solidFill>
                <a:latin typeface="Verdana" panose="020B0604030504040204" pitchFamily="34" charset="0"/>
                <a:ea typeface="Verdana" panose="020B0604030504040204" pitchFamily="34" charset="0"/>
              </a:rPr>
              <a:t>Upload </a:t>
            </a:r>
          </a:p>
          <a:p>
            <a:pPr algn="ctr"/>
            <a:r>
              <a:rPr lang="en-GB" sz="1100" kern="0" dirty="0">
                <a:solidFill>
                  <a:prstClr val="white"/>
                </a:solidFill>
                <a:latin typeface="Verdana" panose="020B0604030504040204" pitchFamily="34" charset="0"/>
                <a:ea typeface="Verdana" panose="020B0604030504040204" pitchFamily="34" charset="0"/>
              </a:rPr>
              <a:t>the ASR document</a:t>
            </a:r>
          </a:p>
        </p:txBody>
      </p:sp>
      <p:sp>
        <p:nvSpPr>
          <p:cNvPr id="73" name="Freeform 5">
            <a:extLst>
              <a:ext uri="{FF2B5EF4-FFF2-40B4-BE49-F238E27FC236}">
                <a16:creationId xmlns:a16="http://schemas.microsoft.com/office/drawing/2014/main" id="{4445E044-3E11-4528-9008-5D475D618846}"/>
              </a:ext>
            </a:extLst>
          </p:cNvPr>
          <p:cNvSpPr>
            <a:spLocks/>
          </p:cNvSpPr>
          <p:nvPr/>
        </p:nvSpPr>
        <p:spPr>
          <a:xfrm>
            <a:off x="7975005" y="5596030"/>
            <a:ext cx="1260000" cy="1087022"/>
          </a:xfrm>
          <a:custGeom>
            <a:avLst/>
            <a:gdLst>
              <a:gd name="connsiteX0" fmla="*/ 1552073 w 6244389"/>
              <a:gd name="connsiteY0" fmla="*/ 0 h 5426243"/>
              <a:gd name="connsiteX1" fmla="*/ 4704347 w 6244389"/>
              <a:gd name="connsiteY1" fmla="*/ 12032 h 5426243"/>
              <a:gd name="connsiteX2" fmla="*/ 6244389 w 6244389"/>
              <a:gd name="connsiteY2" fmla="*/ 2755232 h 5426243"/>
              <a:gd name="connsiteX3" fmla="*/ 4704347 w 6244389"/>
              <a:gd name="connsiteY3" fmla="*/ 5414211 h 5426243"/>
              <a:gd name="connsiteX4" fmla="*/ 1564105 w 6244389"/>
              <a:gd name="connsiteY4" fmla="*/ 5426243 h 5426243"/>
              <a:gd name="connsiteX5" fmla="*/ 0 w 6244389"/>
              <a:gd name="connsiteY5" fmla="*/ 2731169 h 5426243"/>
              <a:gd name="connsiteX6" fmla="*/ 1552073 w 6244389"/>
              <a:gd name="connsiteY6" fmla="*/ 0 h 54262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4389" h="5426243">
                <a:moveTo>
                  <a:pt x="1552073" y="0"/>
                </a:moveTo>
                <a:lnTo>
                  <a:pt x="4704347" y="12032"/>
                </a:lnTo>
                <a:lnTo>
                  <a:pt x="6244389" y="2755232"/>
                </a:lnTo>
                <a:lnTo>
                  <a:pt x="4704347" y="5414211"/>
                </a:lnTo>
                <a:lnTo>
                  <a:pt x="1564105" y="5426243"/>
                </a:lnTo>
                <a:lnTo>
                  <a:pt x="0" y="2731169"/>
                </a:lnTo>
                <a:lnTo>
                  <a:pt x="1552073" y="0"/>
                </a:lnTo>
                <a:close/>
              </a:path>
            </a:pathLst>
          </a:custGeom>
          <a:solidFill>
            <a:schemeClr val="bg1">
              <a:lumMod val="95000"/>
            </a:schemeClr>
          </a:solid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noAutofit/>
          </a:bodyPr>
          <a:lstStyle/>
          <a:p>
            <a:pPr lvl="0" algn="ctr">
              <a:defRPr/>
            </a:pPr>
            <a:r>
              <a:rPr lang="en-US" sz="1100" i="1" kern="0">
                <a:solidFill>
                  <a:schemeClr val="bg1">
                    <a:lumMod val="50000"/>
                  </a:schemeClr>
                </a:solidFill>
                <a:latin typeface="Verdana" panose="020B0604030504040204" pitchFamily="34" charset="0"/>
                <a:ea typeface="Verdana" panose="020B0604030504040204" pitchFamily="34" charset="0"/>
              </a:rPr>
              <a:t>Drop here</a:t>
            </a:r>
          </a:p>
          <a:p>
            <a:pPr algn="ctr">
              <a:defRPr/>
            </a:pPr>
            <a:r>
              <a:rPr lang="en-US" sz="1100" i="1" kern="0">
                <a:solidFill>
                  <a:schemeClr val="bg1">
                    <a:lumMod val="50000"/>
                  </a:schemeClr>
                </a:solidFill>
                <a:latin typeface="Verdana" panose="020B0604030504040204" pitchFamily="34" charset="0"/>
                <a:ea typeface="Verdana" panose="020B0604030504040204" pitchFamily="34" charset="0"/>
              </a:rPr>
              <a:t>Nº 8</a:t>
            </a:r>
          </a:p>
        </p:txBody>
      </p:sp>
      <p:sp>
        <p:nvSpPr>
          <p:cNvPr id="74" name="Freeform 5">
            <a:extLst>
              <a:ext uri="{FF2B5EF4-FFF2-40B4-BE49-F238E27FC236}">
                <a16:creationId xmlns:a16="http://schemas.microsoft.com/office/drawing/2014/main" id="{B48AA59D-8AE6-43B9-BB8B-63641D8B6B89}"/>
              </a:ext>
            </a:extLst>
          </p:cNvPr>
          <p:cNvSpPr>
            <a:spLocks/>
          </p:cNvSpPr>
          <p:nvPr/>
        </p:nvSpPr>
        <p:spPr>
          <a:xfrm>
            <a:off x="8963772" y="5025539"/>
            <a:ext cx="1260000" cy="1087022"/>
          </a:xfrm>
          <a:custGeom>
            <a:avLst/>
            <a:gdLst>
              <a:gd name="connsiteX0" fmla="*/ 1552073 w 6244389"/>
              <a:gd name="connsiteY0" fmla="*/ 0 h 5426243"/>
              <a:gd name="connsiteX1" fmla="*/ 4704347 w 6244389"/>
              <a:gd name="connsiteY1" fmla="*/ 12032 h 5426243"/>
              <a:gd name="connsiteX2" fmla="*/ 6244389 w 6244389"/>
              <a:gd name="connsiteY2" fmla="*/ 2755232 h 5426243"/>
              <a:gd name="connsiteX3" fmla="*/ 4704347 w 6244389"/>
              <a:gd name="connsiteY3" fmla="*/ 5414211 h 5426243"/>
              <a:gd name="connsiteX4" fmla="*/ 1564105 w 6244389"/>
              <a:gd name="connsiteY4" fmla="*/ 5426243 h 5426243"/>
              <a:gd name="connsiteX5" fmla="*/ 0 w 6244389"/>
              <a:gd name="connsiteY5" fmla="*/ 2731169 h 5426243"/>
              <a:gd name="connsiteX6" fmla="*/ 1552073 w 6244389"/>
              <a:gd name="connsiteY6" fmla="*/ 0 h 54262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4389" h="5426243">
                <a:moveTo>
                  <a:pt x="1552073" y="0"/>
                </a:moveTo>
                <a:lnTo>
                  <a:pt x="4704347" y="12032"/>
                </a:lnTo>
                <a:lnTo>
                  <a:pt x="6244389" y="2755232"/>
                </a:lnTo>
                <a:lnTo>
                  <a:pt x="4704347" y="5414211"/>
                </a:lnTo>
                <a:lnTo>
                  <a:pt x="1564105" y="5426243"/>
                </a:lnTo>
                <a:lnTo>
                  <a:pt x="0" y="2731169"/>
                </a:lnTo>
                <a:lnTo>
                  <a:pt x="1552073" y="0"/>
                </a:lnTo>
                <a:close/>
              </a:path>
            </a:pathLst>
          </a:custGeom>
          <a:solidFill>
            <a:schemeClr val="bg1">
              <a:lumMod val="95000"/>
            </a:schemeClr>
          </a:solid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noAutofit/>
          </a:bodyPr>
          <a:lstStyle/>
          <a:p>
            <a:pPr lvl="0" algn="ctr">
              <a:defRPr/>
            </a:pPr>
            <a:r>
              <a:rPr lang="en-US" sz="1100" i="1" kern="0">
                <a:solidFill>
                  <a:schemeClr val="bg1">
                    <a:lumMod val="50000"/>
                  </a:schemeClr>
                </a:solidFill>
                <a:latin typeface="Verdana" panose="020B0604030504040204" pitchFamily="34" charset="0"/>
                <a:ea typeface="Verdana" panose="020B0604030504040204" pitchFamily="34" charset="0"/>
              </a:rPr>
              <a:t>Drop here</a:t>
            </a:r>
          </a:p>
          <a:p>
            <a:pPr algn="ctr">
              <a:defRPr/>
            </a:pPr>
            <a:r>
              <a:rPr lang="en-US" sz="1100" i="1" kern="0">
                <a:solidFill>
                  <a:schemeClr val="bg1">
                    <a:lumMod val="50000"/>
                  </a:schemeClr>
                </a:solidFill>
                <a:latin typeface="Verdana" panose="020B0604030504040204" pitchFamily="34" charset="0"/>
                <a:ea typeface="Verdana" panose="020B0604030504040204" pitchFamily="34" charset="0"/>
              </a:rPr>
              <a:t>Nº 9</a:t>
            </a:r>
          </a:p>
        </p:txBody>
      </p:sp>
      <p:sp>
        <p:nvSpPr>
          <p:cNvPr id="75" name="Freeform 5">
            <a:extLst>
              <a:ext uri="{FF2B5EF4-FFF2-40B4-BE49-F238E27FC236}">
                <a16:creationId xmlns:a16="http://schemas.microsoft.com/office/drawing/2014/main" id="{E686859A-D8DB-4335-8520-94CE68AB1C40}"/>
              </a:ext>
            </a:extLst>
          </p:cNvPr>
          <p:cNvSpPr>
            <a:spLocks/>
          </p:cNvSpPr>
          <p:nvPr/>
        </p:nvSpPr>
        <p:spPr>
          <a:xfrm>
            <a:off x="9937219" y="5596030"/>
            <a:ext cx="1260000" cy="1087022"/>
          </a:xfrm>
          <a:custGeom>
            <a:avLst/>
            <a:gdLst>
              <a:gd name="connsiteX0" fmla="*/ 1552073 w 6244389"/>
              <a:gd name="connsiteY0" fmla="*/ 0 h 5426243"/>
              <a:gd name="connsiteX1" fmla="*/ 4704347 w 6244389"/>
              <a:gd name="connsiteY1" fmla="*/ 12032 h 5426243"/>
              <a:gd name="connsiteX2" fmla="*/ 6244389 w 6244389"/>
              <a:gd name="connsiteY2" fmla="*/ 2755232 h 5426243"/>
              <a:gd name="connsiteX3" fmla="*/ 4704347 w 6244389"/>
              <a:gd name="connsiteY3" fmla="*/ 5414211 h 5426243"/>
              <a:gd name="connsiteX4" fmla="*/ 1564105 w 6244389"/>
              <a:gd name="connsiteY4" fmla="*/ 5426243 h 5426243"/>
              <a:gd name="connsiteX5" fmla="*/ 0 w 6244389"/>
              <a:gd name="connsiteY5" fmla="*/ 2731169 h 5426243"/>
              <a:gd name="connsiteX6" fmla="*/ 1552073 w 6244389"/>
              <a:gd name="connsiteY6" fmla="*/ 0 h 54262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4389" h="5426243">
                <a:moveTo>
                  <a:pt x="1552073" y="0"/>
                </a:moveTo>
                <a:lnTo>
                  <a:pt x="4704347" y="12032"/>
                </a:lnTo>
                <a:lnTo>
                  <a:pt x="6244389" y="2755232"/>
                </a:lnTo>
                <a:lnTo>
                  <a:pt x="4704347" y="5414211"/>
                </a:lnTo>
                <a:lnTo>
                  <a:pt x="1564105" y="5426243"/>
                </a:lnTo>
                <a:lnTo>
                  <a:pt x="0" y="2731169"/>
                </a:lnTo>
                <a:lnTo>
                  <a:pt x="1552073" y="0"/>
                </a:lnTo>
                <a:close/>
              </a:path>
            </a:pathLst>
          </a:custGeom>
          <a:solidFill>
            <a:schemeClr val="bg1">
              <a:lumMod val="95000"/>
            </a:schemeClr>
          </a:solid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noAutofit/>
          </a:bodyPr>
          <a:lstStyle/>
          <a:p>
            <a:pPr lvl="0" algn="ctr">
              <a:defRPr/>
            </a:pPr>
            <a:r>
              <a:rPr lang="en-US" sz="1100" i="1" kern="0">
                <a:solidFill>
                  <a:schemeClr val="bg1">
                    <a:lumMod val="50000"/>
                  </a:schemeClr>
                </a:solidFill>
                <a:latin typeface="Verdana" panose="020B0604030504040204" pitchFamily="34" charset="0"/>
                <a:ea typeface="Verdana" panose="020B0604030504040204" pitchFamily="34" charset="0"/>
              </a:rPr>
              <a:t>Drop here</a:t>
            </a:r>
          </a:p>
          <a:p>
            <a:pPr algn="ctr">
              <a:defRPr/>
            </a:pPr>
            <a:r>
              <a:rPr lang="en-US" sz="1100" i="1" kern="0">
                <a:solidFill>
                  <a:schemeClr val="bg1">
                    <a:lumMod val="50000"/>
                  </a:schemeClr>
                </a:solidFill>
                <a:latin typeface="Verdana" panose="020B0604030504040204" pitchFamily="34" charset="0"/>
                <a:ea typeface="Verdana" panose="020B0604030504040204" pitchFamily="34" charset="0"/>
              </a:rPr>
              <a:t>Nº 10</a:t>
            </a:r>
          </a:p>
        </p:txBody>
      </p:sp>
      <p:sp>
        <p:nvSpPr>
          <p:cNvPr id="33" name="Freeform 58">
            <a:extLst>
              <a:ext uri="{FF2B5EF4-FFF2-40B4-BE49-F238E27FC236}">
                <a16:creationId xmlns:a16="http://schemas.microsoft.com/office/drawing/2014/main" id="{F336CCF9-B7D7-4102-BB49-B529ADBB541F}"/>
              </a:ext>
            </a:extLst>
          </p:cNvPr>
          <p:cNvSpPr>
            <a:spLocks/>
          </p:cNvSpPr>
          <p:nvPr/>
        </p:nvSpPr>
        <p:spPr>
          <a:xfrm>
            <a:off x="10674249" y="3047496"/>
            <a:ext cx="1260000" cy="1087022"/>
          </a:xfrm>
          <a:custGeom>
            <a:avLst/>
            <a:gdLst>
              <a:gd name="connsiteX0" fmla="*/ 1552073 w 6244389"/>
              <a:gd name="connsiteY0" fmla="*/ 0 h 5426243"/>
              <a:gd name="connsiteX1" fmla="*/ 4704347 w 6244389"/>
              <a:gd name="connsiteY1" fmla="*/ 12032 h 5426243"/>
              <a:gd name="connsiteX2" fmla="*/ 6244389 w 6244389"/>
              <a:gd name="connsiteY2" fmla="*/ 2755232 h 5426243"/>
              <a:gd name="connsiteX3" fmla="*/ 4704347 w 6244389"/>
              <a:gd name="connsiteY3" fmla="*/ 5414211 h 5426243"/>
              <a:gd name="connsiteX4" fmla="*/ 1564105 w 6244389"/>
              <a:gd name="connsiteY4" fmla="*/ 5426243 h 5426243"/>
              <a:gd name="connsiteX5" fmla="*/ 0 w 6244389"/>
              <a:gd name="connsiteY5" fmla="*/ 2731169 h 5426243"/>
              <a:gd name="connsiteX6" fmla="*/ 1552073 w 6244389"/>
              <a:gd name="connsiteY6" fmla="*/ 0 h 54262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4389" h="5426243">
                <a:moveTo>
                  <a:pt x="1552073" y="0"/>
                </a:moveTo>
                <a:lnTo>
                  <a:pt x="4704347" y="12032"/>
                </a:lnTo>
                <a:lnTo>
                  <a:pt x="6244389" y="2755232"/>
                </a:lnTo>
                <a:lnTo>
                  <a:pt x="4704347" y="5414211"/>
                </a:lnTo>
                <a:lnTo>
                  <a:pt x="1564105" y="5426243"/>
                </a:lnTo>
                <a:lnTo>
                  <a:pt x="0" y="2731169"/>
                </a:lnTo>
                <a:lnTo>
                  <a:pt x="1552073" y="0"/>
                </a:lnTo>
                <a:close/>
              </a:path>
            </a:pathLst>
          </a:cu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noAutofit/>
          </a:bodyPr>
          <a:lstStyle/>
          <a:p>
            <a:pPr algn="ctr"/>
            <a:r>
              <a:rPr lang="en-US" sz="1100" kern="0">
                <a:solidFill>
                  <a:prstClr val="white"/>
                </a:solidFill>
                <a:latin typeface="Verdana" panose="020B0604030504040204" pitchFamily="34" charset="0"/>
                <a:ea typeface="Verdana" panose="020B0604030504040204" pitchFamily="34" charset="0"/>
              </a:rPr>
              <a:t>Create the ASR form </a:t>
            </a:r>
          </a:p>
        </p:txBody>
      </p:sp>
      <p:sp>
        <p:nvSpPr>
          <p:cNvPr id="34" name="Rectángulo 1">
            <a:extLst>
              <a:ext uri="{FF2B5EF4-FFF2-40B4-BE49-F238E27FC236}">
                <a16:creationId xmlns:a16="http://schemas.microsoft.com/office/drawing/2014/main" id="{7797543D-FB49-4999-96DC-B9418CDE0853}"/>
              </a:ext>
            </a:extLst>
          </p:cNvPr>
          <p:cNvSpPr/>
          <p:nvPr/>
        </p:nvSpPr>
        <p:spPr>
          <a:xfrm>
            <a:off x="631745" y="1427151"/>
            <a:ext cx="10620447" cy="1018292"/>
          </a:xfrm>
          <a:prstGeom prst="rect">
            <a:avLst/>
          </a:prstGeom>
        </p:spPr>
        <p:txBody>
          <a:bodyPr wrap="square" lIns="91440" tIns="45720" rIns="91440" bIns="45720" anchor="t">
            <a:spAutoFit/>
          </a:bodyPr>
          <a:lstStyle/>
          <a:p>
            <a:pPr algn="just">
              <a:lnSpc>
                <a:spcPct val="150000"/>
              </a:lnSpc>
              <a:defRPr/>
            </a:pPr>
            <a:r>
              <a:rPr lang="en-GB" sz="1400" kern="0" dirty="0">
                <a:latin typeface="Verdana"/>
                <a:ea typeface="Verdana"/>
              </a:rPr>
              <a:t>A sponsor wants to submit an ASR related to one CT with two MSCs. During the assessment of the ASR (once submitted), the </a:t>
            </a:r>
            <a:r>
              <a:rPr lang="en-GB" sz="1400" kern="0" dirty="0" err="1">
                <a:latin typeface="Verdana"/>
                <a:ea typeface="Verdana"/>
              </a:rPr>
              <a:t>saMS</a:t>
            </a:r>
            <a:r>
              <a:rPr lang="en-GB" sz="1400" kern="0" dirty="0">
                <a:latin typeface="Verdana"/>
                <a:ea typeface="Verdana"/>
              </a:rPr>
              <a:t> raises an RFI to the sponsor. </a:t>
            </a:r>
            <a:r>
              <a:rPr lang="en-US" sz="1400" b="1" kern="0" dirty="0">
                <a:latin typeface="Verdana"/>
                <a:ea typeface="Verdana"/>
              </a:rPr>
              <a:t>Drag and drop the pieces </a:t>
            </a:r>
            <a:r>
              <a:rPr lang="en-US" sz="1400" kern="0" dirty="0">
                <a:latin typeface="Verdana"/>
                <a:ea typeface="Verdana"/>
              </a:rPr>
              <a:t>to show the sequence of steps that the ASR submitter should follow in CTIS to submit the ASR and to submit an RFI response.</a:t>
            </a:r>
          </a:p>
        </p:txBody>
      </p:sp>
    </p:spTree>
    <p:custDataLst>
      <p:tags r:id="rId1"/>
    </p:custDataLst>
    <p:extLst>
      <p:ext uri="{BB962C8B-B14F-4D97-AF65-F5344CB8AC3E}">
        <p14:creationId xmlns:p14="http://schemas.microsoft.com/office/powerpoint/2010/main" val="409640106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Rounded Rectangle 61"/>
          <p:cNvSpPr/>
          <p:nvPr/>
        </p:nvSpPr>
        <p:spPr>
          <a:xfrm>
            <a:off x="1847468" y="3429000"/>
            <a:ext cx="1219683" cy="639724"/>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a:solidFill>
                  <a:schemeClr val="tx1"/>
                </a:solidFill>
                <a:latin typeface="Verdana" panose="020B0604030504040204" pitchFamily="34" charset="0"/>
                <a:ea typeface="Verdana" panose="020B0604030504040204" pitchFamily="34" charset="0"/>
              </a:rPr>
              <a:t>Solution:</a:t>
            </a:r>
          </a:p>
        </p:txBody>
      </p:sp>
      <p:sp>
        <p:nvSpPr>
          <p:cNvPr id="41" name="TextBox 17">
            <a:extLst>
              <a:ext uri="{FF2B5EF4-FFF2-40B4-BE49-F238E27FC236}">
                <a16:creationId xmlns:a16="http://schemas.microsoft.com/office/drawing/2014/main" id="{7C985282-E9AF-47E3-AE6A-8B28B620E788}"/>
              </a:ext>
            </a:extLst>
          </p:cNvPr>
          <p:cNvSpPr txBox="1"/>
          <p:nvPr/>
        </p:nvSpPr>
        <p:spPr>
          <a:xfrm>
            <a:off x="887505" y="227053"/>
            <a:ext cx="6165909" cy="4001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0" cap="none" spc="0" normalizeH="0" baseline="0" noProof="0" dirty="0">
                <a:ln>
                  <a:noFill/>
                </a:ln>
                <a:solidFill>
                  <a:srgbClr val="2DA2BF"/>
                </a:solidFill>
                <a:effectLst/>
                <a:uLnTx/>
                <a:uFillTx/>
                <a:latin typeface="Verdana" panose="020B0604030504040204" pitchFamily="34" charset="0"/>
                <a:ea typeface="Verdana" panose="020B0604030504040204" pitchFamily="34" charset="0"/>
              </a:rPr>
              <a:t>Order the pieces of the process puzzle</a:t>
            </a:r>
          </a:p>
        </p:txBody>
      </p:sp>
      <p:sp>
        <p:nvSpPr>
          <p:cNvPr id="42" name="Rectángulo 1">
            <a:extLst>
              <a:ext uri="{FF2B5EF4-FFF2-40B4-BE49-F238E27FC236}">
                <a16:creationId xmlns:a16="http://schemas.microsoft.com/office/drawing/2014/main" id="{02EE4D91-62A6-4D30-A0F4-2401D59EC7FE}"/>
              </a:ext>
            </a:extLst>
          </p:cNvPr>
          <p:cNvSpPr/>
          <p:nvPr/>
        </p:nvSpPr>
        <p:spPr>
          <a:xfrm>
            <a:off x="631745" y="1379973"/>
            <a:ext cx="10620447" cy="695127"/>
          </a:xfrm>
          <a:prstGeom prst="rect">
            <a:avLst/>
          </a:prstGeom>
        </p:spPr>
        <p:txBody>
          <a:bodyPr wrap="square" lIns="91440" tIns="45720" rIns="91440" bIns="45720" anchor="t">
            <a:spAutoFit/>
          </a:bodyPr>
          <a:lstStyle/>
          <a:p>
            <a:pPr algn="just">
              <a:lnSpc>
                <a:spcPct val="150000"/>
              </a:lnSpc>
              <a:defRPr/>
            </a:pPr>
            <a:r>
              <a:rPr lang="en-GB" sz="1400" kern="0" dirty="0">
                <a:latin typeface="Verdana"/>
                <a:ea typeface="Verdana"/>
              </a:rPr>
              <a:t>A sponsor wants to submit an ASR related to one CT with only one MSC. </a:t>
            </a:r>
            <a:r>
              <a:rPr lang="en-US" sz="1400" b="1" kern="0" dirty="0">
                <a:latin typeface="Verdana"/>
                <a:ea typeface="Verdana"/>
              </a:rPr>
              <a:t>Drag and drop the pieces </a:t>
            </a:r>
            <a:r>
              <a:rPr lang="en-US" sz="1400" kern="0" dirty="0">
                <a:latin typeface="Verdana"/>
                <a:ea typeface="Verdana"/>
              </a:rPr>
              <a:t>to show the sequence of steps that the ASR submitter should follow in CTIS to submit the ASR.</a:t>
            </a:r>
          </a:p>
        </p:txBody>
      </p:sp>
      <p:sp>
        <p:nvSpPr>
          <p:cNvPr id="43" name="Rounded Rectangle 38">
            <a:extLst>
              <a:ext uri="{FF2B5EF4-FFF2-40B4-BE49-F238E27FC236}">
                <a16:creationId xmlns:a16="http://schemas.microsoft.com/office/drawing/2014/main" id="{A90A5CEE-FE04-4A68-AC73-8E8372F8ED30}"/>
              </a:ext>
            </a:extLst>
          </p:cNvPr>
          <p:cNvSpPr/>
          <p:nvPr/>
        </p:nvSpPr>
        <p:spPr>
          <a:xfrm>
            <a:off x="982132" y="823498"/>
            <a:ext cx="2700000" cy="432808"/>
          </a:xfrm>
          <a:prstGeom prst="roundRect">
            <a:avLst/>
          </a:prstGeom>
          <a:solidFill>
            <a:srgbClr val="2DA2B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a:latin typeface="Verdana" panose="020B0604030504040204" pitchFamily="34" charset="0"/>
                <a:ea typeface="Verdana" panose="020B0604030504040204" pitchFamily="34" charset="0"/>
              </a:rPr>
              <a:t>Case scenario 1</a:t>
            </a:r>
          </a:p>
        </p:txBody>
      </p:sp>
      <p:sp>
        <p:nvSpPr>
          <p:cNvPr id="45" name="Rounded Rectangle 43">
            <a:extLst>
              <a:ext uri="{FF2B5EF4-FFF2-40B4-BE49-F238E27FC236}">
                <a16:creationId xmlns:a16="http://schemas.microsoft.com/office/drawing/2014/main" id="{54FD1EB6-3DCA-4952-88A5-67981FB0E6F0}"/>
              </a:ext>
            </a:extLst>
          </p:cNvPr>
          <p:cNvSpPr/>
          <p:nvPr/>
        </p:nvSpPr>
        <p:spPr>
          <a:xfrm>
            <a:off x="3757186" y="832481"/>
            <a:ext cx="2700000" cy="432808"/>
          </a:xfrm>
          <a:prstGeom prst="roundRect">
            <a:avLst/>
          </a:prstGeom>
          <a:noFill/>
          <a:ln w="28575">
            <a:solidFill>
              <a:srgbClr val="2DA2B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b="1">
                <a:solidFill>
                  <a:srgbClr val="2DA2BF"/>
                </a:solidFill>
                <a:latin typeface="Verdana" panose="020B0604030504040204" pitchFamily="34" charset="0"/>
                <a:ea typeface="Verdana" panose="020B0604030504040204" pitchFamily="34" charset="0"/>
              </a:rPr>
              <a:t>Create and submit an ASR submission form</a:t>
            </a:r>
          </a:p>
        </p:txBody>
      </p:sp>
      <p:sp>
        <p:nvSpPr>
          <p:cNvPr id="46" name="Rounded Rectangle 99">
            <a:extLst>
              <a:ext uri="{FF2B5EF4-FFF2-40B4-BE49-F238E27FC236}">
                <a16:creationId xmlns:a16="http://schemas.microsoft.com/office/drawing/2014/main" id="{67CA7685-6C76-4854-8FDD-014100B45863}"/>
              </a:ext>
            </a:extLst>
          </p:cNvPr>
          <p:cNvSpPr/>
          <p:nvPr/>
        </p:nvSpPr>
        <p:spPr>
          <a:xfrm>
            <a:off x="7442095" y="199617"/>
            <a:ext cx="4295220" cy="804653"/>
          </a:xfrm>
          <a:prstGeom prst="roundRect">
            <a:avLst/>
          </a:prstGeom>
          <a:solidFill>
            <a:srgbClr val="F9F9F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b="1">
                <a:solidFill>
                  <a:srgbClr val="2DA2BF"/>
                </a:solidFill>
                <a:latin typeface="Verdana" panose="020B0604030504040204" pitchFamily="34" charset="0"/>
                <a:ea typeface="Verdana" panose="020B0604030504040204" pitchFamily="34" charset="0"/>
              </a:rPr>
              <a:t>Solution</a:t>
            </a:r>
          </a:p>
        </p:txBody>
      </p:sp>
      <p:grpSp>
        <p:nvGrpSpPr>
          <p:cNvPr id="47" name="Group 46">
            <a:extLst>
              <a:ext uri="{FF2B5EF4-FFF2-40B4-BE49-F238E27FC236}">
                <a16:creationId xmlns:a16="http://schemas.microsoft.com/office/drawing/2014/main" id="{1988FC19-11BA-41CA-99CF-CC3E61A64A9F}"/>
              </a:ext>
            </a:extLst>
          </p:cNvPr>
          <p:cNvGrpSpPr/>
          <p:nvPr/>
        </p:nvGrpSpPr>
        <p:grpSpPr>
          <a:xfrm>
            <a:off x="7442095" y="79370"/>
            <a:ext cx="456508" cy="393344"/>
            <a:chOff x="608927" y="4139945"/>
            <a:chExt cx="269282" cy="254868"/>
          </a:xfrm>
          <a:solidFill>
            <a:srgbClr val="92D050"/>
          </a:solidFill>
        </p:grpSpPr>
        <p:sp>
          <p:nvSpPr>
            <p:cNvPr id="48" name="Freeform 240">
              <a:extLst>
                <a:ext uri="{FF2B5EF4-FFF2-40B4-BE49-F238E27FC236}">
                  <a16:creationId xmlns:a16="http://schemas.microsoft.com/office/drawing/2014/main" id="{307EAC51-7FA9-40BC-892C-AA13008E8E62}"/>
                </a:ext>
              </a:extLst>
            </p:cNvPr>
            <p:cNvSpPr>
              <a:spLocks/>
            </p:cNvSpPr>
            <p:nvPr/>
          </p:nvSpPr>
          <p:spPr bwMode="auto">
            <a:xfrm>
              <a:off x="658735" y="4139945"/>
              <a:ext cx="219474" cy="189167"/>
            </a:xfrm>
            <a:custGeom>
              <a:avLst/>
              <a:gdLst>
                <a:gd name="T0" fmla="*/ 407 w 445"/>
                <a:gd name="T1" fmla="*/ 0 h 383"/>
                <a:gd name="T2" fmla="*/ 389 w 445"/>
                <a:gd name="T3" fmla="*/ 5 h 383"/>
                <a:gd name="T4" fmla="*/ 134 w 445"/>
                <a:gd name="T5" fmla="*/ 287 h 383"/>
                <a:gd name="T6" fmla="*/ 64 w 445"/>
                <a:gd name="T7" fmla="*/ 196 h 383"/>
                <a:gd name="T8" fmla="*/ 38 w 445"/>
                <a:gd name="T9" fmla="*/ 183 h 383"/>
                <a:gd name="T10" fmla="*/ 18 w 445"/>
                <a:gd name="T11" fmla="*/ 190 h 383"/>
                <a:gd name="T12" fmla="*/ 11 w 445"/>
                <a:gd name="T13" fmla="*/ 237 h 383"/>
                <a:gd name="T14" fmla="*/ 113 w 445"/>
                <a:gd name="T15" fmla="*/ 370 h 383"/>
                <a:gd name="T16" fmla="*/ 140 w 445"/>
                <a:gd name="T17" fmla="*/ 383 h 383"/>
                <a:gd name="T18" fmla="*/ 144 w 445"/>
                <a:gd name="T19" fmla="*/ 383 h 383"/>
                <a:gd name="T20" fmla="*/ 170 w 445"/>
                <a:gd name="T21" fmla="*/ 363 h 383"/>
                <a:gd name="T22" fmla="*/ 425 w 445"/>
                <a:gd name="T23" fmla="*/ 61 h 383"/>
                <a:gd name="T24" fmla="*/ 435 w 445"/>
                <a:gd name="T25" fmla="*/ 15 h 383"/>
                <a:gd name="T26" fmla="*/ 407 w 445"/>
                <a:gd name="T27" fmla="*/ 0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5" h="383">
                  <a:moveTo>
                    <a:pt x="407" y="0"/>
                  </a:moveTo>
                  <a:cubicBezTo>
                    <a:pt x="401" y="0"/>
                    <a:pt x="395" y="1"/>
                    <a:pt x="389" y="5"/>
                  </a:cubicBezTo>
                  <a:cubicBezTo>
                    <a:pt x="256" y="91"/>
                    <a:pt x="173" y="218"/>
                    <a:pt x="134" y="287"/>
                  </a:cubicBezTo>
                  <a:lnTo>
                    <a:pt x="64" y="196"/>
                  </a:lnTo>
                  <a:cubicBezTo>
                    <a:pt x="58" y="188"/>
                    <a:pt x="48" y="183"/>
                    <a:pt x="38" y="183"/>
                  </a:cubicBezTo>
                  <a:cubicBezTo>
                    <a:pt x="31" y="183"/>
                    <a:pt x="24" y="185"/>
                    <a:pt x="18" y="190"/>
                  </a:cubicBezTo>
                  <a:cubicBezTo>
                    <a:pt x="3" y="201"/>
                    <a:pt x="0" y="222"/>
                    <a:pt x="11" y="237"/>
                  </a:cubicBezTo>
                  <a:lnTo>
                    <a:pt x="113" y="370"/>
                  </a:lnTo>
                  <a:cubicBezTo>
                    <a:pt x="120" y="378"/>
                    <a:pt x="130" y="383"/>
                    <a:pt x="140" y="383"/>
                  </a:cubicBezTo>
                  <a:cubicBezTo>
                    <a:pt x="141" y="383"/>
                    <a:pt x="143" y="383"/>
                    <a:pt x="144" y="383"/>
                  </a:cubicBezTo>
                  <a:cubicBezTo>
                    <a:pt x="156" y="381"/>
                    <a:pt x="166" y="374"/>
                    <a:pt x="170" y="363"/>
                  </a:cubicBezTo>
                  <a:cubicBezTo>
                    <a:pt x="171" y="361"/>
                    <a:pt x="255" y="171"/>
                    <a:pt x="425" y="61"/>
                  </a:cubicBezTo>
                  <a:cubicBezTo>
                    <a:pt x="441" y="51"/>
                    <a:pt x="445" y="30"/>
                    <a:pt x="435" y="15"/>
                  </a:cubicBezTo>
                  <a:cubicBezTo>
                    <a:pt x="429" y="5"/>
                    <a:pt x="418" y="0"/>
                    <a:pt x="407"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1" name="Freeform 241">
              <a:extLst>
                <a:ext uri="{FF2B5EF4-FFF2-40B4-BE49-F238E27FC236}">
                  <a16:creationId xmlns:a16="http://schemas.microsoft.com/office/drawing/2014/main" id="{CCFFD405-8820-4AD1-AE1B-4F03AE5687EA}"/>
                </a:ext>
              </a:extLst>
            </p:cNvPr>
            <p:cNvSpPr>
              <a:spLocks/>
            </p:cNvSpPr>
            <p:nvPr/>
          </p:nvSpPr>
          <p:spPr bwMode="auto">
            <a:xfrm>
              <a:off x="608927" y="4164657"/>
              <a:ext cx="230280" cy="230156"/>
            </a:xfrm>
            <a:custGeom>
              <a:avLst/>
              <a:gdLst>
                <a:gd name="T0" fmla="*/ 400 w 467"/>
                <a:gd name="T1" fmla="*/ 172 h 466"/>
                <a:gd name="T2" fmla="*/ 400 w 467"/>
                <a:gd name="T3" fmla="*/ 400 h 466"/>
                <a:gd name="T4" fmla="*/ 67 w 467"/>
                <a:gd name="T5" fmla="*/ 400 h 466"/>
                <a:gd name="T6" fmla="*/ 67 w 467"/>
                <a:gd name="T7" fmla="*/ 66 h 466"/>
                <a:gd name="T8" fmla="*/ 315 w 467"/>
                <a:gd name="T9" fmla="*/ 66 h 466"/>
                <a:gd name="T10" fmla="*/ 379 w 467"/>
                <a:gd name="T11" fmla="*/ 0 h 466"/>
                <a:gd name="T12" fmla="*/ 67 w 467"/>
                <a:gd name="T13" fmla="*/ 0 h 466"/>
                <a:gd name="T14" fmla="*/ 0 w 467"/>
                <a:gd name="T15" fmla="*/ 66 h 466"/>
                <a:gd name="T16" fmla="*/ 0 w 467"/>
                <a:gd name="T17" fmla="*/ 400 h 466"/>
                <a:gd name="T18" fmla="*/ 67 w 467"/>
                <a:gd name="T19" fmla="*/ 466 h 466"/>
                <a:gd name="T20" fmla="*/ 400 w 467"/>
                <a:gd name="T21" fmla="*/ 466 h 466"/>
                <a:gd name="T22" fmla="*/ 467 w 467"/>
                <a:gd name="T23" fmla="*/ 400 h 466"/>
                <a:gd name="T24" fmla="*/ 467 w 467"/>
                <a:gd name="T25" fmla="*/ 100 h 466"/>
                <a:gd name="T26" fmla="*/ 400 w 467"/>
                <a:gd name="T27" fmla="*/ 172 h 4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67" h="466">
                  <a:moveTo>
                    <a:pt x="400" y="172"/>
                  </a:moveTo>
                  <a:lnTo>
                    <a:pt x="400" y="400"/>
                  </a:lnTo>
                  <a:lnTo>
                    <a:pt x="67" y="400"/>
                  </a:lnTo>
                  <a:lnTo>
                    <a:pt x="67" y="66"/>
                  </a:lnTo>
                  <a:lnTo>
                    <a:pt x="315" y="66"/>
                  </a:lnTo>
                  <a:cubicBezTo>
                    <a:pt x="334" y="44"/>
                    <a:pt x="355" y="22"/>
                    <a:pt x="379" y="0"/>
                  </a:cubicBezTo>
                  <a:lnTo>
                    <a:pt x="67" y="0"/>
                  </a:lnTo>
                  <a:cubicBezTo>
                    <a:pt x="30" y="0"/>
                    <a:pt x="0" y="30"/>
                    <a:pt x="0" y="66"/>
                  </a:cubicBezTo>
                  <a:lnTo>
                    <a:pt x="0" y="400"/>
                  </a:lnTo>
                  <a:cubicBezTo>
                    <a:pt x="0" y="436"/>
                    <a:pt x="30" y="466"/>
                    <a:pt x="67" y="466"/>
                  </a:cubicBezTo>
                  <a:lnTo>
                    <a:pt x="400" y="466"/>
                  </a:lnTo>
                  <a:cubicBezTo>
                    <a:pt x="437" y="466"/>
                    <a:pt x="467" y="436"/>
                    <a:pt x="467" y="400"/>
                  </a:cubicBezTo>
                  <a:lnTo>
                    <a:pt x="467" y="100"/>
                  </a:lnTo>
                  <a:cubicBezTo>
                    <a:pt x="442" y="124"/>
                    <a:pt x="419" y="148"/>
                    <a:pt x="400" y="172"/>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19" name="Freeform 58">
            <a:extLst>
              <a:ext uri="{FF2B5EF4-FFF2-40B4-BE49-F238E27FC236}">
                <a16:creationId xmlns:a16="http://schemas.microsoft.com/office/drawing/2014/main" id="{BEDE1412-3063-491E-A409-9A77426D04C4}"/>
              </a:ext>
            </a:extLst>
          </p:cNvPr>
          <p:cNvSpPr>
            <a:spLocks/>
          </p:cNvSpPr>
          <p:nvPr/>
        </p:nvSpPr>
        <p:spPr>
          <a:xfrm>
            <a:off x="3219652" y="3163526"/>
            <a:ext cx="1260000" cy="1087022"/>
          </a:xfrm>
          <a:custGeom>
            <a:avLst/>
            <a:gdLst>
              <a:gd name="connsiteX0" fmla="*/ 1552073 w 6244389"/>
              <a:gd name="connsiteY0" fmla="*/ 0 h 5426243"/>
              <a:gd name="connsiteX1" fmla="*/ 4704347 w 6244389"/>
              <a:gd name="connsiteY1" fmla="*/ 12032 h 5426243"/>
              <a:gd name="connsiteX2" fmla="*/ 6244389 w 6244389"/>
              <a:gd name="connsiteY2" fmla="*/ 2755232 h 5426243"/>
              <a:gd name="connsiteX3" fmla="*/ 4704347 w 6244389"/>
              <a:gd name="connsiteY3" fmla="*/ 5414211 h 5426243"/>
              <a:gd name="connsiteX4" fmla="*/ 1564105 w 6244389"/>
              <a:gd name="connsiteY4" fmla="*/ 5426243 h 5426243"/>
              <a:gd name="connsiteX5" fmla="*/ 0 w 6244389"/>
              <a:gd name="connsiteY5" fmla="*/ 2731169 h 5426243"/>
              <a:gd name="connsiteX6" fmla="*/ 1552073 w 6244389"/>
              <a:gd name="connsiteY6" fmla="*/ 0 h 54262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4389" h="5426243">
                <a:moveTo>
                  <a:pt x="1552073" y="0"/>
                </a:moveTo>
                <a:lnTo>
                  <a:pt x="4704347" y="12032"/>
                </a:lnTo>
                <a:lnTo>
                  <a:pt x="6244389" y="2755232"/>
                </a:lnTo>
                <a:lnTo>
                  <a:pt x="4704347" y="5414211"/>
                </a:lnTo>
                <a:lnTo>
                  <a:pt x="1564105" y="5426243"/>
                </a:lnTo>
                <a:lnTo>
                  <a:pt x="0" y="2731169"/>
                </a:lnTo>
                <a:lnTo>
                  <a:pt x="1552073" y="0"/>
                </a:lnTo>
                <a:close/>
              </a:path>
            </a:pathLst>
          </a:cu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noAutofit/>
          </a:bodyPr>
          <a:lstStyle/>
          <a:p>
            <a:pPr algn="ctr"/>
            <a:r>
              <a:rPr lang="en-US" sz="1100" kern="0">
                <a:solidFill>
                  <a:prstClr val="white"/>
                </a:solidFill>
                <a:latin typeface="Verdana" panose="020B0604030504040204" pitchFamily="34" charset="0"/>
                <a:ea typeface="Verdana" panose="020B0604030504040204" pitchFamily="34" charset="0"/>
              </a:rPr>
              <a:t>Create an ASR form</a:t>
            </a:r>
          </a:p>
        </p:txBody>
      </p:sp>
      <p:sp>
        <p:nvSpPr>
          <p:cNvPr id="20" name="Freeform 3">
            <a:extLst>
              <a:ext uri="{FF2B5EF4-FFF2-40B4-BE49-F238E27FC236}">
                <a16:creationId xmlns:a16="http://schemas.microsoft.com/office/drawing/2014/main" id="{B5AB702D-44AE-4124-ADE4-61F55D190870}"/>
              </a:ext>
            </a:extLst>
          </p:cNvPr>
          <p:cNvSpPr>
            <a:spLocks/>
          </p:cNvSpPr>
          <p:nvPr/>
        </p:nvSpPr>
        <p:spPr>
          <a:xfrm>
            <a:off x="4208419" y="3723663"/>
            <a:ext cx="1260000" cy="1087022"/>
          </a:xfrm>
          <a:custGeom>
            <a:avLst/>
            <a:gdLst>
              <a:gd name="connsiteX0" fmla="*/ 1552073 w 6244389"/>
              <a:gd name="connsiteY0" fmla="*/ 0 h 5426243"/>
              <a:gd name="connsiteX1" fmla="*/ 4704347 w 6244389"/>
              <a:gd name="connsiteY1" fmla="*/ 12032 h 5426243"/>
              <a:gd name="connsiteX2" fmla="*/ 6244389 w 6244389"/>
              <a:gd name="connsiteY2" fmla="*/ 2755232 h 5426243"/>
              <a:gd name="connsiteX3" fmla="*/ 4704347 w 6244389"/>
              <a:gd name="connsiteY3" fmla="*/ 5414211 h 5426243"/>
              <a:gd name="connsiteX4" fmla="*/ 1564105 w 6244389"/>
              <a:gd name="connsiteY4" fmla="*/ 5426243 h 5426243"/>
              <a:gd name="connsiteX5" fmla="*/ 0 w 6244389"/>
              <a:gd name="connsiteY5" fmla="*/ 2731169 h 5426243"/>
              <a:gd name="connsiteX6" fmla="*/ 1552073 w 6244389"/>
              <a:gd name="connsiteY6" fmla="*/ 0 h 54262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4389" h="5426243">
                <a:moveTo>
                  <a:pt x="1552073" y="0"/>
                </a:moveTo>
                <a:lnTo>
                  <a:pt x="4704347" y="12032"/>
                </a:lnTo>
                <a:lnTo>
                  <a:pt x="6244389" y="2755232"/>
                </a:lnTo>
                <a:lnTo>
                  <a:pt x="4704347" y="5414211"/>
                </a:lnTo>
                <a:lnTo>
                  <a:pt x="1564105" y="5426243"/>
                </a:lnTo>
                <a:lnTo>
                  <a:pt x="0" y="2731169"/>
                </a:lnTo>
                <a:lnTo>
                  <a:pt x="1552073" y="0"/>
                </a:lnTo>
                <a:close/>
              </a:path>
            </a:pathLst>
          </a:cu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noAutofit/>
          </a:bodyPr>
          <a:lstStyle/>
          <a:p>
            <a:pPr lvl="0" algn="ctr">
              <a:defRPr/>
            </a:pPr>
            <a:r>
              <a:rPr lang="en-GB" sz="1100" kern="0">
                <a:solidFill>
                  <a:prstClr val="white"/>
                </a:solidFill>
                <a:latin typeface="Verdana" panose="020B0604030504040204" pitchFamily="34" charset="0"/>
                <a:ea typeface="Verdana" panose="020B0604030504040204" pitchFamily="34" charset="0"/>
              </a:rPr>
              <a:t>Fill in the details of the sponsor organisation</a:t>
            </a:r>
            <a:endParaRPr kumimoji="0" lang="en-US" sz="1100" b="0" i="0" u="none" strike="noStrike" kern="0" cap="none" spc="0" normalizeH="0" baseline="0" noProof="0">
              <a:ln>
                <a:noFill/>
              </a:ln>
              <a:solidFill>
                <a:prstClr val="white"/>
              </a:solidFill>
              <a:effectLst/>
              <a:uLnTx/>
              <a:uFillTx/>
              <a:latin typeface="Verdana" panose="020B0604030504040204" pitchFamily="34" charset="0"/>
              <a:ea typeface="Verdana" panose="020B0604030504040204" pitchFamily="34" charset="0"/>
            </a:endParaRPr>
          </a:p>
        </p:txBody>
      </p:sp>
      <p:sp>
        <p:nvSpPr>
          <p:cNvPr id="21" name="Freeform 60">
            <a:extLst>
              <a:ext uri="{FF2B5EF4-FFF2-40B4-BE49-F238E27FC236}">
                <a16:creationId xmlns:a16="http://schemas.microsoft.com/office/drawing/2014/main" id="{930E35AC-1397-4492-9BFD-00090FDCA61B}"/>
              </a:ext>
            </a:extLst>
          </p:cNvPr>
          <p:cNvSpPr>
            <a:spLocks/>
          </p:cNvSpPr>
          <p:nvPr/>
        </p:nvSpPr>
        <p:spPr>
          <a:xfrm>
            <a:off x="5197186" y="3151075"/>
            <a:ext cx="1260000" cy="1087022"/>
          </a:xfrm>
          <a:custGeom>
            <a:avLst/>
            <a:gdLst>
              <a:gd name="connsiteX0" fmla="*/ 1552073 w 6244389"/>
              <a:gd name="connsiteY0" fmla="*/ 0 h 5426243"/>
              <a:gd name="connsiteX1" fmla="*/ 4704347 w 6244389"/>
              <a:gd name="connsiteY1" fmla="*/ 12032 h 5426243"/>
              <a:gd name="connsiteX2" fmla="*/ 6244389 w 6244389"/>
              <a:gd name="connsiteY2" fmla="*/ 2755232 h 5426243"/>
              <a:gd name="connsiteX3" fmla="*/ 4704347 w 6244389"/>
              <a:gd name="connsiteY3" fmla="*/ 5414211 h 5426243"/>
              <a:gd name="connsiteX4" fmla="*/ 1564105 w 6244389"/>
              <a:gd name="connsiteY4" fmla="*/ 5426243 h 5426243"/>
              <a:gd name="connsiteX5" fmla="*/ 0 w 6244389"/>
              <a:gd name="connsiteY5" fmla="*/ 2731169 h 5426243"/>
              <a:gd name="connsiteX6" fmla="*/ 1552073 w 6244389"/>
              <a:gd name="connsiteY6" fmla="*/ 0 h 54262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4389" h="5426243">
                <a:moveTo>
                  <a:pt x="1552073" y="0"/>
                </a:moveTo>
                <a:lnTo>
                  <a:pt x="4704347" y="12032"/>
                </a:lnTo>
                <a:lnTo>
                  <a:pt x="6244389" y="2755232"/>
                </a:lnTo>
                <a:lnTo>
                  <a:pt x="4704347" y="5414211"/>
                </a:lnTo>
                <a:lnTo>
                  <a:pt x="1564105" y="5426243"/>
                </a:lnTo>
                <a:lnTo>
                  <a:pt x="0" y="2731169"/>
                </a:lnTo>
                <a:lnTo>
                  <a:pt x="1552073" y="0"/>
                </a:lnTo>
                <a:close/>
              </a:path>
            </a:pathLst>
          </a:custGeom>
          <a:solidFill>
            <a:srgbClr val="ED7D3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noAutofit/>
          </a:bodyPr>
          <a:lstStyle/>
          <a:p>
            <a:pPr algn="ctr"/>
            <a:r>
              <a:rPr lang="en-GB" sz="1100" kern="0">
                <a:solidFill>
                  <a:prstClr val="white"/>
                </a:solidFill>
                <a:latin typeface="Verdana" panose="020B0604030504040204" pitchFamily="34" charset="0"/>
                <a:ea typeface="Verdana" panose="020B0604030504040204" pitchFamily="34" charset="0"/>
              </a:rPr>
              <a:t>Fill in the details of the clinical trial</a:t>
            </a:r>
          </a:p>
        </p:txBody>
      </p:sp>
      <p:sp>
        <p:nvSpPr>
          <p:cNvPr id="22" name="Freeform 3 - 1">
            <a:extLst>
              <a:ext uri="{FF2B5EF4-FFF2-40B4-BE49-F238E27FC236}">
                <a16:creationId xmlns:a16="http://schemas.microsoft.com/office/drawing/2014/main" id="{29F2C613-9262-4223-AC7F-725381E412FB}"/>
              </a:ext>
            </a:extLst>
          </p:cNvPr>
          <p:cNvSpPr>
            <a:spLocks/>
          </p:cNvSpPr>
          <p:nvPr/>
        </p:nvSpPr>
        <p:spPr>
          <a:xfrm>
            <a:off x="6185953" y="3711851"/>
            <a:ext cx="1260000" cy="1087022"/>
          </a:xfrm>
          <a:custGeom>
            <a:avLst/>
            <a:gdLst>
              <a:gd name="connsiteX0" fmla="*/ 1552073 w 6244389"/>
              <a:gd name="connsiteY0" fmla="*/ 0 h 5426243"/>
              <a:gd name="connsiteX1" fmla="*/ 4704347 w 6244389"/>
              <a:gd name="connsiteY1" fmla="*/ 12032 h 5426243"/>
              <a:gd name="connsiteX2" fmla="*/ 6244389 w 6244389"/>
              <a:gd name="connsiteY2" fmla="*/ 2755232 h 5426243"/>
              <a:gd name="connsiteX3" fmla="*/ 4704347 w 6244389"/>
              <a:gd name="connsiteY3" fmla="*/ 5414211 h 5426243"/>
              <a:gd name="connsiteX4" fmla="*/ 1564105 w 6244389"/>
              <a:gd name="connsiteY4" fmla="*/ 5426243 h 5426243"/>
              <a:gd name="connsiteX5" fmla="*/ 0 w 6244389"/>
              <a:gd name="connsiteY5" fmla="*/ 2731169 h 5426243"/>
              <a:gd name="connsiteX6" fmla="*/ 1552073 w 6244389"/>
              <a:gd name="connsiteY6" fmla="*/ 0 h 54262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4389" h="5426243">
                <a:moveTo>
                  <a:pt x="1552073" y="0"/>
                </a:moveTo>
                <a:lnTo>
                  <a:pt x="4704347" y="12032"/>
                </a:lnTo>
                <a:lnTo>
                  <a:pt x="6244389" y="2755232"/>
                </a:lnTo>
                <a:lnTo>
                  <a:pt x="4704347" y="5414211"/>
                </a:lnTo>
                <a:lnTo>
                  <a:pt x="1564105" y="5426243"/>
                </a:lnTo>
                <a:lnTo>
                  <a:pt x="0" y="2731169"/>
                </a:lnTo>
                <a:lnTo>
                  <a:pt x="1552073" y="0"/>
                </a:lnTo>
                <a:close/>
              </a:path>
            </a:pathLst>
          </a:cu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noAutofit/>
          </a:bodyPr>
          <a:lstStyle/>
          <a:p>
            <a:pPr algn="ctr"/>
            <a:r>
              <a:rPr lang="en-GB" sz="1100" kern="0">
                <a:solidFill>
                  <a:prstClr val="white"/>
                </a:solidFill>
                <a:latin typeface="Verdana" panose="020B0604030504040204" pitchFamily="34" charset="0"/>
                <a:ea typeface="Verdana" panose="020B0604030504040204" pitchFamily="34" charset="0"/>
              </a:rPr>
              <a:t>Fill in the details of the ASR reporting period</a:t>
            </a:r>
          </a:p>
        </p:txBody>
      </p:sp>
      <p:sp>
        <p:nvSpPr>
          <p:cNvPr id="23" name="Freeform 5 - 1">
            <a:extLst>
              <a:ext uri="{FF2B5EF4-FFF2-40B4-BE49-F238E27FC236}">
                <a16:creationId xmlns:a16="http://schemas.microsoft.com/office/drawing/2014/main" id="{1DD0A24A-EED4-4C8C-9184-510EA857B30E}"/>
              </a:ext>
            </a:extLst>
          </p:cNvPr>
          <p:cNvSpPr>
            <a:spLocks/>
          </p:cNvSpPr>
          <p:nvPr/>
        </p:nvSpPr>
        <p:spPr>
          <a:xfrm>
            <a:off x="7174720" y="3168340"/>
            <a:ext cx="1260000" cy="1087022"/>
          </a:xfrm>
          <a:custGeom>
            <a:avLst/>
            <a:gdLst>
              <a:gd name="connsiteX0" fmla="*/ 1552073 w 6244389"/>
              <a:gd name="connsiteY0" fmla="*/ 0 h 5426243"/>
              <a:gd name="connsiteX1" fmla="*/ 4704347 w 6244389"/>
              <a:gd name="connsiteY1" fmla="*/ 12032 h 5426243"/>
              <a:gd name="connsiteX2" fmla="*/ 6244389 w 6244389"/>
              <a:gd name="connsiteY2" fmla="*/ 2755232 h 5426243"/>
              <a:gd name="connsiteX3" fmla="*/ 4704347 w 6244389"/>
              <a:gd name="connsiteY3" fmla="*/ 5414211 h 5426243"/>
              <a:gd name="connsiteX4" fmla="*/ 1564105 w 6244389"/>
              <a:gd name="connsiteY4" fmla="*/ 5426243 h 5426243"/>
              <a:gd name="connsiteX5" fmla="*/ 0 w 6244389"/>
              <a:gd name="connsiteY5" fmla="*/ 2731169 h 5426243"/>
              <a:gd name="connsiteX6" fmla="*/ 1552073 w 6244389"/>
              <a:gd name="connsiteY6" fmla="*/ 0 h 54262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4389" h="5426243">
                <a:moveTo>
                  <a:pt x="1552073" y="0"/>
                </a:moveTo>
                <a:lnTo>
                  <a:pt x="4704347" y="12032"/>
                </a:lnTo>
                <a:lnTo>
                  <a:pt x="6244389" y="2755232"/>
                </a:lnTo>
                <a:lnTo>
                  <a:pt x="4704347" y="5414211"/>
                </a:lnTo>
                <a:lnTo>
                  <a:pt x="1564105" y="5426243"/>
                </a:lnTo>
                <a:lnTo>
                  <a:pt x="0" y="2731169"/>
                </a:lnTo>
                <a:lnTo>
                  <a:pt x="1552073" y="0"/>
                </a:lnTo>
                <a:close/>
              </a:path>
            </a:pathLst>
          </a:cu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noAutofit/>
          </a:bodyPr>
          <a:lstStyle/>
          <a:p>
            <a:pPr algn="ctr"/>
            <a:r>
              <a:rPr lang="en-GB" sz="1100" kern="0">
                <a:solidFill>
                  <a:prstClr val="white"/>
                </a:solidFill>
                <a:latin typeface="Verdana" panose="020B0604030504040204" pitchFamily="34" charset="0"/>
                <a:ea typeface="Verdana" panose="020B0604030504040204" pitchFamily="34" charset="0"/>
              </a:rPr>
              <a:t>Upload </a:t>
            </a:r>
          </a:p>
          <a:p>
            <a:pPr algn="ctr"/>
            <a:r>
              <a:rPr lang="en-GB" sz="1100" kern="0">
                <a:solidFill>
                  <a:prstClr val="white"/>
                </a:solidFill>
                <a:latin typeface="Verdana" panose="020B0604030504040204" pitchFamily="34" charset="0"/>
                <a:ea typeface="Verdana" panose="020B0604030504040204" pitchFamily="34" charset="0"/>
              </a:rPr>
              <a:t>the ASR document and supporting documents</a:t>
            </a:r>
            <a:endParaRPr lang="en-US" sz="1100" kern="0">
              <a:solidFill>
                <a:prstClr val="white"/>
              </a:solidFill>
              <a:latin typeface="Verdana" panose="020B0604030504040204" pitchFamily="34" charset="0"/>
              <a:ea typeface="Verdana" panose="020B0604030504040204" pitchFamily="34" charset="0"/>
            </a:endParaRPr>
          </a:p>
        </p:txBody>
      </p:sp>
      <p:sp>
        <p:nvSpPr>
          <p:cNvPr id="24" name="Freeform 34">
            <a:extLst>
              <a:ext uri="{FF2B5EF4-FFF2-40B4-BE49-F238E27FC236}">
                <a16:creationId xmlns:a16="http://schemas.microsoft.com/office/drawing/2014/main" id="{19E9C0F4-5D40-4479-AB23-4527B5AB6E9D}"/>
              </a:ext>
            </a:extLst>
          </p:cNvPr>
          <p:cNvSpPr>
            <a:spLocks/>
          </p:cNvSpPr>
          <p:nvPr/>
        </p:nvSpPr>
        <p:spPr>
          <a:xfrm>
            <a:off x="8163487" y="3723663"/>
            <a:ext cx="1260000" cy="1087022"/>
          </a:xfrm>
          <a:custGeom>
            <a:avLst/>
            <a:gdLst>
              <a:gd name="connsiteX0" fmla="*/ 1552073 w 6244389"/>
              <a:gd name="connsiteY0" fmla="*/ 0 h 5426243"/>
              <a:gd name="connsiteX1" fmla="*/ 4704347 w 6244389"/>
              <a:gd name="connsiteY1" fmla="*/ 12032 h 5426243"/>
              <a:gd name="connsiteX2" fmla="*/ 6244389 w 6244389"/>
              <a:gd name="connsiteY2" fmla="*/ 2755232 h 5426243"/>
              <a:gd name="connsiteX3" fmla="*/ 4704347 w 6244389"/>
              <a:gd name="connsiteY3" fmla="*/ 5414211 h 5426243"/>
              <a:gd name="connsiteX4" fmla="*/ 1564105 w 6244389"/>
              <a:gd name="connsiteY4" fmla="*/ 5426243 h 5426243"/>
              <a:gd name="connsiteX5" fmla="*/ 0 w 6244389"/>
              <a:gd name="connsiteY5" fmla="*/ 2731169 h 5426243"/>
              <a:gd name="connsiteX6" fmla="*/ 1552073 w 6244389"/>
              <a:gd name="connsiteY6" fmla="*/ 0 h 54262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4389" h="5426243">
                <a:moveTo>
                  <a:pt x="1552073" y="0"/>
                </a:moveTo>
                <a:lnTo>
                  <a:pt x="4704347" y="12032"/>
                </a:lnTo>
                <a:lnTo>
                  <a:pt x="6244389" y="2755232"/>
                </a:lnTo>
                <a:lnTo>
                  <a:pt x="4704347" y="5414211"/>
                </a:lnTo>
                <a:lnTo>
                  <a:pt x="1564105" y="5426243"/>
                </a:lnTo>
                <a:lnTo>
                  <a:pt x="0" y="2731169"/>
                </a:lnTo>
                <a:lnTo>
                  <a:pt x="1552073" y="0"/>
                </a:lnTo>
                <a:close/>
              </a:path>
            </a:pathLst>
          </a:custGeom>
          <a:solidFill>
            <a:srgbClr val="ED7D3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noAutofit/>
          </a:bodyPr>
          <a:lstStyle/>
          <a:p>
            <a:pPr algn="ctr"/>
            <a:r>
              <a:rPr lang="en-GB" sz="1100" kern="0">
                <a:solidFill>
                  <a:prstClr val="white"/>
                </a:solidFill>
                <a:latin typeface="Verdana" panose="020B0604030504040204" pitchFamily="34" charset="0"/>
                <a:ea typeface="Verdana" panose="020B0604030504040204" pitchFamily="34" charset="0"/>
              </a:rPr>
              <a:t>Submit the ASR form</a:t>
            </a:r>
            <a:endParaRPr lang="en-US" sz="1100" kern="0">
              <a:solidFill>
                <a:prstClr val="white"/>
              </a:solidFill>
              <a:latin typeface="Verdana" panose="020B0604030504040204" pitchFamily="34" charset="0"/>
              <a:ea typeface="Verdana" panose="020B0604030504040204" pitchFamily="34" charset="0"/>
            </a:endParaRPr>
          </a:p>
        </p:txBody>
      </p:sp>
    </p:spTree>
    <p:custDataLst>
      <p:tags r:id="rId1"/>
    </p:custDataLst>
    <p:extLst>
      <p:ext uri="{BB962C8B-B14F-4D97-AF65-F5344CB8AC3E}">
        <p14:creationId xmlns:p14="http://schemas.microsoft.com/office/powerpoint/2010/main" val="121657104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 name="Freeform 3">
            <a:extLst>
              <a:ext uri="{FF2B5EF4-FFF2-40B4-BE49-F238E27FC236}">
                <a16:creationId xmlns:a16="http://schemas.microsoft.com/office/drawing/2014/main" id="{2F7E9558-4D27-4F11-91F7-DB0DC9FCAE8F}"/>
              </a:ext>
            </a:extLst>
          </p:cNvPr>
          <p:cNvSpPr>
            <a:spLocks/>
          </p:cNvSpPr>
          <p:nvPr/>
        </p:nvSpPr>
        <p:spPr>
          <a:xfrm>
            <a:off x="2484363" y="4339914"/>
            <a:ext cx="1260000" cy="1087022"/>
          </a:xfrm>
          <a:custGeom>
            <a:avLst/>
            <a:gdLst>
              <a:gd name="connsiteX0" fmla="*/ 1552073 w 6244389"/>
              <a:gd name="connsiteY0" fmla="*/ 0 h 5426243"/>
              <a:gd name="connsiteX1" fmla="*/ 4704347 w 6244389"/>
              <a:gd name="connsiteY1" fmla="*/ 12032 h 5426243"/>
              <a:gd name="connsiteX2" fmla="*/ 6244389 w 6244389"/>
              <a:gd name="connsiteY2" fmla="*/ 2755232 h 5426243"/>
              <a:gd name="connsiteX3" fmla="*/ 4704347 w 6244389"/>
              <a:gd name="connsiteY3" fmla="*/ 5414211 h 5426243"/>
              <a:gd name="connsiteX4" fmla="*/ 1564105 w 6244389"/>
              <a:gd name="connsiteY4" fmla="*/ 5426243 h 5426243"/>
              <a:gd name="connsiteX5" fmla="*/ 0 w 6244389"/>
              <a:gd name="connsiteY5" fmla="*/ 2731169 h 5426243"/>
              <a:gd name="connsiteX6" fmla="*/ 1552073 w 6244389"/>
              <a:gd name="connsiteY6" fmla="*/ 0 h 54262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4389" h="5426243">
                <a:moveTo>
                  <a:pt x="1552073" y="0"/>
                </a:moveTo>
                <a:lnTo>
                  <a:pt x="4704347" y="12032"/>
                </a:lnTo>
                <a:lnTo>
                  <a:pt x="6244389" y="2755232"/>
                </a:lnTo>
                <a:lnTo>
                  <a:pt x="4704347" y="5414211"/>
                </a:lnTo>
                <a:lnTo>
                  <a:pt x="1564105" y="5426243"/>
                </a:lnTo>
                <a:lnTo>
                  <a:pt x="0" y="2731169"/>
                </a:lnTo>
                <a:lnTo>
                  <a:pt x="1552073" y="0"/>
                </a:lnTo>
                <a:close/>
              </a:path>
            </a:pathLst>
          </a:cu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noAutofit/>
          </a:bodyPr>
          <a:lstStyle/>
          <a:p>
            <a:pPr lvl="0" algn="ctr">
              <a:defRPr/>
            </a:pPr>
            <a:r>
              <a:rPr lang="en-GB" sz="1100" kern="0">
                <a:solidFill>
                  <a:prstClr val="white"/>
                </a:solidFill>
                <a:latin typeface="Verdana" panose="020B0604030504040204" pitchFamily="34" charset="0"/>
                <a:ea typeface="Verdana" panose="020B0604030504040204" pitchFamily="34" charset="0"/>
              </a:rPr>
              <a:t>Fill in the details of the sponsor organisation</a:t>
            </a:r>
            <a:endParaRPr kumimoji="0" lang="en-US" sz="1100" b="0" i="0" u="none" strike="noStrike" kern="0" cap="none" spc="0" normalizeH="0" baseline="0" noProof="0">
              <a:ln>
                <a:noFill/>
              </a:ln>
              <a:solidFill>
                <a:prstClr val="white"/>
              </a:solidFill>
              <a:effectLst/>
              <a:uLnTx/>
              <a:uFillTx/>
              <a:latin typeface="Verdana" panose="020B0604030504040204" pitchFamily="34" charset="0"/>
              <a:ea typeface="Verdana" panose="020B0604030504040204" pitchFamily="34" charset="0"/>
            </a:endParaRPr>
          </a:p>
        </p:txBody>
      </p:sp>
      <p:sp>
        <p:nvSpPr>
          <p:cNvPr id="61" name="Freeform 34">
            <a:extLst>
              <a:ext uri="{FF2B5EF4-FFF2-40B4-BE49-F238E27FC236}">
                <a16:creationId xmlns:a16="http://schemas.microsoft.com/office/drawing/2014/main" id="{EA731E75-389E-4DCD-8F15-FFB5E9C28F94}"/>
              </a:ext>
            </a:extLst>
          </p:cNvPr>
          <p:cNvSpPr>
            <a:spLocks/>
          </p:cNvSpPr>
          <p:nvPr/>
        </p:nvSpPr>
        <p:spPr>
          <a:xfrm>
            <a:off x="9405732" y="3763152"/>
            <a:ext cx="1260000" cy="1087022"/>
          </a:xfrm>
          <a:custGeom>
            <a:avLst/>
            <a:gdLst>
              <a:gd name="connsiteX0" fmla="*/ 1552073 w 6244389"/>
              <a:gd name="connsiteY0" fmla="*/ 0 h 5426243"/>
              <a:gd name="connsiteX1" fmla="*/ 4704347 w 6244389"/>
              <a:gd name="connsiteY1" fmla="*/ 12032 h 5426243"/>
              <a:gd name="connsiteX2" fmla="*/ 6244389 w 6244389"/>
              <a:gd name="connsiteY2" fmla="*/ 2755232 h 5426243"/>
              <a:gd name="connsiteX3" fmla="*/ 4704347 w 6244389"/>
              <a:gd name="connsiteY3" fmla="*/ 5414211 h 5426243"/>
              <a:gd name="connsiteX4" fmla="*/ 1564105 w 6244389"/>
              <a:gd name="connsiteY4" fmla="*/ 5426243 h 5426243"/>
              <a:gd name="connsiteX5" fmla="*/ 0 w 6244389"/>
              <a:gd name="connsiteY5" fmla="*/ 2731169 h 5426243"/>
              <a:gd name="connsiteX6" fmla="*/ 1552073 w 6244389"/>
              <a:gd name="connsiteY6" fmla="*/ 0 h 54262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4389" h="5426243">
                <a:moveTo>
                  <a:pt x="1552073" y="0"/>
                </a:moveTo>
                <a:lnTo>
                  <a:pt x="4704347" y="12032"/>
                </a:lnTo>
                <a:lnTo>
                  <a:pt x="6244389" y="2755232"/>
                </a:lnTo>
                <a:lnTo>
                  <a:pt x="4704347" y="5414211"/>
                </a:lnTo>
                <a:lnTo>
                  <a:pt x="1564105" y="5426243"/>
                </a:lnTo>
                <a:lnTo>
                  <a:pt x="0" y="2731169"/>
                </a:lnTo>
                <a:lnTo>
                  <a:pt x="1552073" y="0"/>
                </a:lnTo>
                <a:close/>
              </a:path>
            </a:pathLst>
          </a:custGeom>
          <a:solidFill>
            <a:srgbClr val="ED7D3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noAutofit/>
          </a:bodyPr>
          <a:lstStyle/>
          <a:p>
            <a:pPr algn="ctr"/>
            <a:r>
              <a:rPr lang="en-US" sz="1100" kern="0" dirty="0">
                <a:solidFill>
                  <a:prstClr val="white"/>
                </a:solidFill>
                <a:latin typeface="Verdana" panose="020B0604030504040204" pitchFamily="34" charset="0"/>
                <a:ea typeface="Verdana" panose="020B0604030504040204" pitchFamily="34" charset="0"/>
              </a:rPr>
              <a:t>Write the response to each consideration</a:t>
            </a:r>
          </a:p>
        </p:txBody>
      </p:sp>
      <p:sp>
        <p:nvSpPr>
          <p:cNvPr id="62" name="Freeform 3 - 1">
            <a:extLst>
              <a:ext uri="{FF2B5EF4-FFF2-40B4-BE49-F238E27FC236}">
                <a16:creationId xmlns:a16="http://schemas.microsoft.com/office/drawing/2014/main" id="{92E0B9D5-C251-4B34-A174-3A9A1F1AC681}"/>
              </a:ext>
            </a:extLst>
          </p:cNvPr>
          <p:cNvSpPr>
            <a:spLocks/>
          </p:cNvSpPr>
          <p:nvPr/>
        </p:nvSpPr>
        <p:spPr>
          <a:xfrm>
            <a:off x="4461897" y="4333643"/>
            <a:ext cx="1260000" cy="1087022"/>
          </a:xfrm>
          <a:custGeom>
            <a:avLst/>
            <a:gdLst>
              <a:gd name="connsiteX0" fmla="*/ 1552073 w 6244389"/>
              <a:gd name="connsiteY0" fmla="*/ 0 h 5426243"/>
              <a:gd name="connsiteX1" fmla="*/ 4704347 w 6244389"/>
              <a:gd name="connsiteY1" fmla="*/ 12032 h 5426243"/>
              <a:gd name="connsiteX2" fmla="*/ 6244389 w 6244389"/>
              <a:gd name="connsiteY2" fmla="*/ 2755232 h 5426243"/>
              <a:gd name="connsiteX3" fmla="*/ 4704347 w 6244389"/>
              <a:gd name="connsiteY3" fmla="*/ 5414211 h 5426243"/>
              <a:gd name="connsiteX4" fmla="*/ 1564105 w 6244389"/>
              <a:gd name="connsiteY4" fmla="*/ 5426243 h 5426243"/>
              <a:gd name="connsiteX5" fmla="*/ 0 w 6244389"/>
              <a:gd name="connsiteY5" fmla="*/ 2731169 h 5426243"/>
              <a:gd name="connsiteX6" fmla="*/ 1552073 w 6244389"/>
              <a:gd name="connsiteY6" fmla="*/ 0 h 54262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4389" h="5426243">
                <a:moveTo>
                  <a:pt x="1552073" y="0"/>
                </a:moveTo>
                <a:lnTo>
                  <a:pt x="4704347" y="12032"/>
                </a:lnTo>
                <a:lnTo>
                  <a:pt x="6244389" y="2755232"/>
                </a:lnTo>
                <a:lnTo>
                  <a:pt x="4704347" y="5414211"/>
                </a:lnTo>
                <a:lnTo>
                  <a:pt x="1564105" y="5426243"/>
                </a:lnTo>
                <a:lnTo>
                  <a:pt x="0" y="2731169"/>
                </a:lnTo>
                <a:lnTo>
                  <a:pt x="1552073" y="0"/>
                </a:lnTo>
                <a:close/>
              </a:path>
            </a:pathLst>
          </a:cu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noAutofit/>
          </a:bodyPr>
          <a:lstStyle/>
          <a:p>
            <a:pPr algn="ctr"/>
            <a:r>
              <a:rPr lang="en-GB" sz="1100" kern="0" dirty="0">
                <a:solidFill>
                  <a:prstClr val="white"/>
                </a:solidFill>
                <a:latin typeface="Verdana" panose="020B0604030504040204" pitchFamily="34" charset="0"/>
                <a:ea typeface="Verdana" panose="020B0604030504040204" pitchFamily="34" charset="0"/>
              </a:rPr>
              <a:t>Fill in the details of the ASR reporting period</a:t>
            </a:r>
          </a:p>
        </p:txBody>
      </p:sp>
      <p:sp>
        <p:nvSpPr>
          <p:cNvPr id="63" name="Freeform 58">
            <a:extLst>
              <a:ext uri="{FF2B5EF4-FFF2-40B4-BE49-F238E27FC236}">
                <a16:creationId xmlns:a16="http://schemas.microsoft.com/office/drawing/2014/main" id="{2522EBD6-2852-4472-A436-4AF72890E5B6}"/>
              </a:ext>
            </a:extLst>
          </p:cNvPr>
          <p:cNvSpPr>
            <a:spLocks/>
          </p:cNvSpPr>
          <p:nvPr/>
        </p:nvSpPr>
        <p:spPr>
          <a:xfrm>
            <a:off x="10379179" y="4333643"/>
            <a:ext cx="1260000" cy="1087022"/>
          </a:xfrm>
          <a:custGeom>
            <a:avLst/>
            <a:gdLst>
              <a:gd name="connsiteX0" fmla="*/ 1552073 w 6244389"/>
              <a:gd name="connsiteY0" fmla="*/ 0 h 5426243"/>
              <a:gd name="connsiteX1" fmla="*/ 4704347 w 6244389"/>
              <a:gd name="connsiteY1" fmla="*/ 12032 h 5426243"/>
              <a:gd name="connsiteX2" fmla="*/ 6244389 w 6244389"/>
              <a:gd name="connsiteY2" fmla="*/ 2755232 h 5426243"/>
              <a:gd name="connsiteX3" fmla="*/ 4704347 w 6244389"/>
              <a:gd name="connsiteY3" fmla="*/ 5414211 h 5426243"/>
              <a:gd name="connsiteX4" fmla="*/ 1564105 w 6244389"/>
              <a:gd name="connsiteY4" fmla="*/ 5426243 h 5426243"/>
              <a:gd name="connsiteX5" fmla="*/ 0 w 6244389"/>
              <a:gd name="connsiteY5" fmla="*/ 2731169 h 5426243"/>
              <a:gd name="connsiteX6" fmla="*/ 1552073 w 6244389"/>
              <a:gd name="connsiteY6" fmla="*/ 0 h 54262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4389" h="5426243">
                <a:moveTo>
                  <a:pt x="1552073" y="0"/>
                </a:moveTo>
                <a:lnTo>
                  <a:pt x="4704347" y="12032"/>
                </a:lnTo>
                <a:lnTo>
                  <a:pt x="6244389" y="2755232"/>
                </a:lnTo>
                <a:lnTo>
                  <a:pt x="4704347" y="5414211"/>
                </a:lnTo>
                <a:lnTo>
                  <a:pt x="1564105" y="5426243"/>
                </a:lnTo>
                <a:lnTo>
                  <a:pt x="0" y="2731169"/>
                </a:lnTo>
                <a:lnTo>
                  <a:pt x="1552073" y="0"/>
                </a:lnTo>
                <a:close/>
              </a:path>
            </a:pathLst>
          </a:cu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noAutofit/>
          </a:bodyPr>
          <a:lstStyle/>
          <a:p>
            <a:pPr algn="ctr"/>
            <a:r>
              <a:rPr kumimoji="0" lang="en-GB" sz="1100" b="0" i="0" u="none" strike="noStrike" kern="0" cap="none" spc="0" normalizeH="0" baseline="0" noProof="0">
                <a:ln>
                  <a:noFill/>
                </a:ln>
                <a:solidFill>
                  <a:prstClr val="white"/>
                </a:solidFill>
                <a:effectLst/>
                <a:uLnTx/>
                <a:uFillTx/>
                <a:latin typeface="Verdana" panose="020B0604030504040204" pitchFamily="34" charset="0"/>
                <a:ea typeface="Verdana" panose="020B0604030504040204" pitchFamily="34" charset="0"/>
              </a:rPr>
              <a:t>Submit the RFI response</a:t>
            </a:r>
            <a:endParaRPr kumimoji="0" lang="en-US" sz="1100" b="0" i="0" u="none" strike="noStrike" kern="0" cap="none" spc="0" normalizeH="0" baseline="0" noProof="0">
              <a:ln>
                <a:noFill/>
              </a:ln>
              <a:solidFill>
                <a:prstClr val="white"/>
              </a:solidFill>
              <a:effectLst/>
              <a:uLnTx/>
              <a:uFillTx/>
              <a:latin typeface="Verdana" panose="020B0604030504040204" pitchFamily="34" charset="0"/>
              <a:ea typeface="Verdana" panose="020B0604030504040204" pitchFamily="34" charset="0"/>
            </a:endParaRPr>
          </a:p>
        </p:txBody>
      </p:sp>
      <p:sp>
        <p:nvSpPr>
          <p:cNvPr id="64" name="Freeform 5 - 1">
            <a:extLst>
              <a:ext uri="{FF2B5EF4-FFF2-40B4-BE49-F238E27FC236}">
                <a16:creationId xmlns:a16="http://schemas.microsoft.com/office/drawing/2014/main" id="{BDF6BB91-7CCD-4214-BB6D-38FDAC605BFE}"/>
              </a:ext>
            </a:extLst>
          </p:cNvPr>
          <p:cNvSpPr>
            <a:spLocks/>
          </p:cNvSpPr>
          <p:nvPr/>
        </p:nvSpPr>
        <p:spPr>
          <a:xfrm>
            <a:off x="6439431" y="4312940"/>
            <a:ext cx="1260000" cy="1087022"/>
          </a:xfrm>
          <a:custGeom>
            <a:avLst/>
            <a:gdLst>
              <a:gd name="connsiteX0" fmla="*/ 1552073 w 6244389"/>
              <a:gd name="connsiteY0" fmla="*/ 0 h 5426243"/>
              <a:gd name="connsiteX1" fmla="*/ 4704347 w 6244389"/>
              <a:gd name="connsiteY1" fmla="*/ 12032 h 5426243"/>
              <a:gd name="connsiteX2" fmla="*/ 6244389 w 6244389"/>
              <a:gd name="connsiteY2" fmla="*/ 2755232 h 5426243"/>
              <a:gd name="connsiteX3" fmla="*/ 4704347 w 6244389"/>
              <a:gd name="connsiteY3" fmla="*/ 5414211 h 5426243"/>
              <a:gd name="connsiteX4" fmla="*/ 1564105 w 6244389"/>
              <a:gd name="connsiteY4" fmla="*/ 5426243 h 5426243"/>
              <a:gd name="connsiteX5" fmla="*/ 0 w 6244389"/>
              <a:gd name="connsiteY5" fmla="*/ 2731169 h 5426243"/>
              <a:gd name="connsiteX6" fmla="*/ 1552073 w 6244389"/>
              <a:gd name="connsiteY6" fmla="*/ 0 h 54262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4389" h="5426243">
                <a:moveTo>
                  <a:pt x="1552073" y="0"/>
                </a:moveTo>
                <a:lnTo>
                  <a:pt x="4704347" y="12032"/>
                </a:lnTo>
                <a:lnTo>
                  <a:pt x="6244389" y="2755232"/>
                </a:lnTo>
                <a:lnTo>
                  <a:pt x="4704347" y="5414211"/>
                </a:lnTo>
                <a:lnTo>
                  <a:pt x="1564105" y="5426243"/>
                </a:lnTo>
                <a:lnTo>
                  <a:pt x="0" y="2731169"/>
                </a:lnTo>
                <a:lnTo>
                  <a:pt x="1552073" y="0"/>
                </a:lnTo>
                <a:close/>
              </a:path>
            </a:pathLst>
          </a:cu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noAutofit/>
          </a:bodyPr>
          <a:lstStyle/>
          <a:p>
            <a:pPr algn="ctr"/>
            <a:r>
              <a:rPr lang="en-GB" sz="1100" kern="0" dirty="0">
                <a:solidFill>
                  <a:prstClr val="white"/>
                </a:solidFill>
                <a:latin typeface="Verdana" panose="020B0604030504040204" pitchFamily="34" charset="0"/>
                <a:ea typeface="Verdana" panose="020B0604030504040204" pitchFamily="34" charset="0"/>
              </a:rPr>
              <a:t>Add any supporting documents</a:t>
            </a:r>
          </a:p>
        </p:txBody>
      </p:sp>
      <p:sp>
        <p:nvSpPr>
          <p:cNvPr id="65" name="Freeform 60">
            <a:extLst>
              <a:ext uri="{FF2B5EF4-FFF2-40B4-BE49-F238E27FC236}">
                <a16:creationId xmlns:a16="http://schemas.microsoft.com/office/drawing/2014/main" id="{753EC3F1-1B6B-449F-A725-6DD96DE73834}"/>
              </a:ext>
            </a:extLst>
          </p:cNvPr>
          <p:cNvSpPr>
            <a:spLocks/>
          </p:cNvSpPr>
          <p:nvPr/>
        </p:nvSpPr>
        <p:spPr>
          <a:xfrm>
            <a:off x="3473130" y="3767326"/>
            <a:ext cx="1260000" cy="1087022"/>
          </a:xfrm>
          <a:custGeom>
            <a:avLst/>
            <a:gdLst>
              <a:gd name="connsiteX0" fmla="*/ 1552073 w 6244389"/>
              <a:gd name="connsiteY0" fmla="*/ 0 h 5426243"/>
              <a:gd name="connsiteX1" fmla="*/ 4704347 w 6244389"/>
              <a:gd name="connsiteY1" fmla="*/ 12032 h 5426243"/>
              <a:gd name="connsiteX2" fmla="*/ 6244389 w 6244389"/>
              <a:gd name="connsiteY2" fmla="*/ 2755232 h 5426243"/>
              <a:gd name="connsiteX3" fmla="*/ 4704347 w 6244389"/>
              <a:gd name="connsiteY3" fmla="*/ 5414211 h 5426243"/>
              <a:gd name="connsiteX4" fmla="*/ 1564105 w 6244389"/>
              <a:gd name="connsiteY4" fmla="*/ 5426243 h 5426243"/>
              <a:gd name="connsiteX5" fmla="*/ 0 w 6244389"/>
              <a:gd name="connsiteY5" fmla="*/ 2731169 h 5426243"/>
              <a:gd name="connsiteX6" fmla="*/ 1552073 w 6244389"/>
              <a:gd name="connsiteY6" fmla="*/ 0 h 54262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4389" h="5426243">
                <a:moveTo>
                  <a:pt x="1552073" y="0"/>
                </a:moveTo>
                <a:lnTo>
                  <a:pt x="4704347" y="12032"/>
                </a:lnTo>
                <a:lnTo>
                  <a:pt x="6244389" y="2755232"/>
                </a:lnTo>
                <a:lnTo>
                  <a:pt x="4704347" y="5414211"/>
                </a:lnTo>
                <a:lnTo>
                  <a:pt x="1564105" y="5426243"/>
                </a:lnTo>
                <a:lnTo>
                  <a:pt x="0" y="2731169"/>
                </a:lnTo>
                <a:lnTo>
                  <a:pt x="1552073" y="0"/>
                </a:lnTo>
                <a:close/>
              </a:path>
            </a:pathLst>
          </a:custGeom>
          <a:solidFill>
            <a:srgbClr val="ED7D3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noAutofit/>
          </a:bodyPr>
          <a:lstStyle/>
          <a:p>
            <a:pPr algn="ctr"/>
            <a:r>
              <a:rPr lang="en-GB" sz="1100" kern="0">
                <a:solidFill>
                  <a:prstClr val="white"/>
                </a:solidFill>
                <a:latin typeface="Verdana" panose="020B0604030504040204" pitchFamily="34" charset="0"/>
                <a:ea typeface="Verdana" panose="020B0604030504040204" pitchFamily="34" charset="0"/>
              </a:rPr>
              <a:t>Fill in the details of the clinical trial</a:t>
            </a:r>
          </a:p>
        </p:txBody>
      </p:sp>
      <p:sp>
        <p:nvSpPr>
          <p:cNvPr id="67" name="Freeform 5 - 1">
            <a:extLst>
              <a:ext uri="{FF2B5EF4-FFF2-40B4-BE49-F238E27FC236}">
                <a16:creationId xmlns:a16="http://schemas.microsoft.com/office/drawing/2014/main" id="{80AB0378-62AF-4E1F-A8C0-A72B6CC86C67}"/>
              </a:ext>
            </a:extLst>
          </p:cNvPr>
          <p:cNvSpPr>
            <a:spLocks/>
          </p:cNvSpPr>
          <p:nvPr/>
        </p:nvSpPr>
        <p:spPr>
          <a:xfrm>
            <a:off x="8416965" y="4333643"/>
            <a:ext cx="1260000" cy="1087022"/>
          </a:xfrm>
          <a:custGeom>
            <a:avLst/>
            <a:gdLst>
              <a:gd name="connsiteX0" fmla="*/ 1552073 w 6244389"/>
              <a:gd name="connsiteY0" fmla="*/ 0 h 5426243"/>
              <a:gd name="connsiteX1" fmla="*/ 4704347 w 6244389"/>
              <a:gd name="connsiteY1" fmla="*/ 12032 h 5426243"/>
              <a:gd name="connsiteX2" fmla="*/ 6244389 w 6244389"/>
              <a:gd name="connsiteY2" fmla="*/ 2755232 h 5426243"/>
              <a:gd name="connsiteX3" fmla="*/ 4704347 w 6244389"/>
              <a:gd name="connsiteY3" fmla="*/ 5414211 h 5426243"/>
              <a:gd name="connsiteX4" fmla="*/ 1564105 w 6244389"/>
              <a:gd name="connsiteY4" fmla="*/ 5426243 h 5426243"/>
              <a:gd name="connsiteX5" fmla="*/ 0 w 6244389"/>
              <a:gd name="connsiteY5" fmla="*/ 2731169 h 5426243"/>
              <a:gd name="connsiteX6" fmla="*/ 1552073 w 6244389"/>
              <a:gd name="connsiteY6" fmla="*/ 0 h 54262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4389" h="5426243">
                <a:moveTo>
                  <a:pt x="1552073" y="0"/>
                </a:moveTo>
                <a:lnTo>
                  <a:pt x="4704347" y="12032"/>
                </a:lnTo>
                <a:lnTo>
                  <a:pt x="6244389" y="2755232"/>
                </a:lnTo>
                <a:lnTo>
                  <a:pt x="4704347" y="5414211"/>
                </a:lnTo>
                <a:lnTo>
                  <a:pt x="1564105" y="5426243"/>
                </a:lnTo>
                <a:lnTo>
                  <a:pt x="0" y="2731169"/>
                </a:lnTo>
                <a:lnTo>
                  <a:pt x="1552073" y="0"/>
                </a:lnTo>
                <a:close/>
              </a:path>
            </a:pathLst>
          </a:cu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noAutofit/>
          </a:bodyPr>
          <a:lstStyle/>
          <a:p>
            <a:pPr algn="ctr"/>
            <a:r>
              <a:rPr lang="en-GB" sz="1100" kern="0">
                <a:solidFill>
                  <a:prstClr val="white"/>
                </a:solidFill>
                <a:latin typeface="Verdana" panose="020B0604030504040204" pitchFamily="34" charset="0"/>
                <a:ea typeface="Verdana" panose="020B0604030504040204" pitchFamily="34" charset="0"/>
              </a:rPr>
              <a:t>Search and open the RFI</a:t>
            </a:r>
            <a:endParaRPr lang="en-US" sz="1100" kern="0">
              <a:solidFill>
                <a:prstClr val="white"/>
              </a:solidFill>
              <a:latin typeface="Verdana" panose="020B0604030504040204" pitchFamily="34" charset="0"/>
              <a:ea typeface="Verdana" panose="020B0604030504040204" pitchFamily="34" charset="0"/>
            </a:endParaRPr>
          </a:p>
        </p:txBody>
      </p:sp>
      <p:sp>
        <p:nvSpPr>
          <p:cNvPr id="68" name="Freeform 58">
            <a:extLst>
              <a:ext uri="{FF2B5EF4-FFF2-40B4-BE49-F238E27FC236}">
                <a16:creationId xmlns:a16="http://schemas.microsoft.com/office/drawing/2014/main" id="{BFB06226-7FBD-4DEC-82E0-1EAFF1E7F6E1}"/>
              </a:ext>
            </a:extLst>
          </p:cNvPr>
          <p:cNvSpPr>
            <a:spLocks/>
          </p:cNvSpPr>
          <p:nvPr/>
        </p:nvSpPr>
        <p:spPr>
          <a:xfrm>
            <a:off x="7428198" y="3763152"/>
            <a:ext cx="1260000" cy="1087022"/>
          </a:xfrm>
          <a:custGeom>
            <a:avLst/>
            <a:gdLst>
              <a:gd name="connsiteX0" fmla="*/ 1552073 w 6244389"/>
              <a:gd name="connsiteY0" fmla="*/ 0 h 5426243"/>
              <a:gd name="connsiteX1" fmla="*/ 4704347 w 6244389"/>
              <a:gd name="connsiteY1" fmla="*/ 12032 h 5426243"/>
              <a:gd name="connsiteX2" fmla="*/ 6244389 w 6244389"/>
              <a:gd name="connsiteY2" fmla="*/ 2755232 h 5426243"/>
              <a:gd name="connsiteX3" fmla="*/ 4704347 w 6244389"/>
              <a:gd name="connsiteY3" fmla="*/ 5414211 h 5426243"/>
              <a:gd name="connsiteX4" fmla="*/ 1564105 w 6244389"/>
              <a:gd name="connsiteY4" fmla="*/ 5426243 h 5426243"/>
              <a:gd name="connsiteX5" fmla="*/ 0 w 6244389"/>
              <a:gd name="connsiteY5" fmla="*/ 2731169 h 5426243"/>
              <a:gd name="connsiteX6" fmla="*/ 1552073 w 6244389"/>
              <a:gd name="connsiteY6" fmla="*/ 0 h 54262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4389" h="5426243">
                <a:moveTo>
                  <a:pt x="1552073" y="0"/>
                </a:moveTo>
                <a:lnTo>
                  <a:pt x="4704347" y="12032"/>
                </a:lnTo>
                <a:lnTo>
                  <a:pt x="6244389" y="2755232"/>
                </a:lnTo>
                <a:lnTo>
                  <a:pt x="4704347" y="5414211"/>
                </a:lnTo>
                <a:lnTo>
                  <a:pt x="1564105" y="5426243"/>
                </a:lnTo>
                <a:lnTo>
                  <a:pt x="0" y="2731169"/>
                </a:lnTo>
                <a:lnTo>
                  <a:pt x="1552073" y="0"/>
                </a:lnTo>
                <a:close/>
              </a:path>
            </a:pathLst>
          </a:cu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noAutofit/>
          </a:bodyPr>
          <a:lstStyle/>
          <a:p>
            <a:pPr algn="ctr"/>
            <a:r>
              <a:rPr lang="en-US" sz="1100" kern="0" dirty="0">
                <a:solidFill>
                  <a:prstClr val="white"/>
                </a:solidFill>
                <a:latin typeface="Verdana" panose="020B0604030504040204" pitchFamily="34" charset="0"/>
                <a:ea typeface="Verdana" panose="020B0604030504040204" pitchFamily="34" charset="0"/>
              </a:rPr>
              <a:t>Submit the ASR form </a:t>
            </a:r>
          </a:p>
        </p:txBody>
      </p:sp>
      <p:sp>
        <p:nvSpPr>
          <p:cNvPr id="69" name="Freeform 60">
            <a:extLst>
              <a:ext uri="{FF2B5EF4-FFF2-40B4-BE49-F238E27FC236}">
                <a16:creationId xmlns:a16="http://schemas.microsoft.com/office/drawing/2014/main" id="{9BBE7A6F-8110-489E-A3C4-8807A20BA5F3}"/>
              </a:ext>
            </a:extLst>
          </p:cNvPr>
          <p:cNvSpPr>
            <a:spLocks/>
          </p:cNvSpPr>
          <p:nvPr/>
        </p:nvSpPr>
        <p:spPr>
          <a:xfrm>
            <a:off x="5450664" y="3763152"/>
            <a:ext cx="1260000" cy="1087022"/>
          </a:xfrm>
          <a:custGeom>
            <a:avLst/>
            <a:gdLst>
              <a:gd name="connsiteX0" fmla="*/ 1552073 w 6244389"/>
              <a:gd name="connsiteY0" fmla="*/ 0 h 5426243"/>
              <a:gd name="connsiteX1" fmla="*/ 4704347 w 6244389"/>
              <a:gd name="connsiteY1" fmla="*/ 12032 h 5426243"/>
              <a:gd name="connsiteX2" fmla="*/ 6244389 w 6244389"/>
              <a:gd name="connsiteY2" fmla="*/ 2755232 h 5426243"/>
              <a:gd name="connsiteX3" fmla="*/ 4704347 w 6244389"/>
              <a:gd name="connsiteY3" fmla="*/ 5414211 h 5426243"/>
              <a:gd name="connsiteX4" fmla="*/ 1564105 w 6244389"/>
              <a:gd name="connsiteY4" fmla="*/ 5426243 h 5426243"/>
              <a:gd name="connsiteX5" fmla="*/ 0 w 6244389"/>
              <a:gd name="connsiteY5" fmla="*/ 2731169 h 5426243"/>
              <a:gd name="connsiteX6" fmla="*/ 1552073 w 6244389"/>
              <a:gd name="connsiteY6" fmla="*/ 0 h 54262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4389" h="5426243">
                <a:moveTo>
                  <a:pt x="1552073" y="0"/>
                </a:moveTo>
                <a:lnTo>
                  <a:pt x="4704347" y="12032"/>
                </a:lnTo>
                <a:lnTo>
                  <a:pt x="6244389" y="2755232"/>
                </a:lnTo>
                <a:lnTo>
                  <a:pt x="4704347" y="5414211"/>
                </a:lnTo>
                <a:lnTo>
                  <a:pt x="1564105" y="5426243"/>
                </a:lnTo>
                <a:lnTo>
                  <a:pt x="0" y="2731169"/>
                </a:lnTo>
                <a:lnTo>
                  <a:pt x="1552073" y="0"/>
                </a:lnTo>
                <a:close/>
              </a:path>
            </a:pathLst>
          </a:custGeom>
          <a:solidFill>
            <a:srgbClr val="ED7D3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noAutofit/>
          </a:bodyPr>
          <a:lstStyle/>
          <a:p>
            <a:pPr algn="ctr"/>
            <a:r>
              <a:rPr lang="en-GB" sz="1100" kern="0" dirty="0">
                <a:solidFill>
                  <a:prstClr val="white"/>
                </a:solidFill>
                <a:latin typeface="Verdana" panose="020B0604030504040204" pitchFamily="34" charset="0"/>
                <a:ea typeface="Verdana" panose="020B0604030504040204" pitchFamily="34" charset="0"/>
              </a:rPr>
              <a:t>Upload </a:t>
            </a:r>
          </a:p>
          <a:p>
            <a:pPr algn="ctr"/>
            <a:r>
              <a:rPr lang="en-GB" sz="1100" kern="0" dirty="0">
                <a:solidFill>
                  <a:prstClr val="white"/>
                </a:solidFill>
                <a:latin typeface="Verdana" panose="020B0604030504040204" pitchFamily="34" charset="0"/>
                <a:ea typeface="Verdana" panose="020B0604030504040204" pitchFamily="34" charset="0"/>
              </a:rPr>
              <a:t>the ASR document</a:t>
            </a:r>
          </a:p>
        </p:txBody>
      </p:sp>
      <p:sp>
        <p:nvSpPr>
          <p:cNvPr id="73" name="Freeform 58">
            <a:extLst>
              <a:ext uri="{FF2B5EF4-FFF2-40B4-BE49-F238E27FC236}">
                <a16:creationId xmlns:a16="http://schemas.microsoft.com/office/drawing/2014/main" id="{2202C798-134B-4686-A8F7-114C9D3305AA}"/>
              </a:ext>
            </a:extLst>
          </p:cNvPr>
          <p:cNvSpPr>
            <a:spLocks/>
          </p:cNvSpPr>
          <p:nvPr/>
        </p:nvSpPr>
        <p:spPr>
          <a:xfrm>
            <a:off x="1495596" y="3767326"/>
            <a:ext cx="1260000" cy="1087022"/>
          </a:xfrm>
          <a:custGeom>
            <a:avLst/>
            <a:gdLst>
              <a:gd name="connsiteX0" fmla="*/ 1552073 w 6244389"/>
              <a:gd name="connsiteY0" fmla="*/ 0 h 5426243"/>
              <a:gd name="connsiteX1" fmla="*/ 4704347 w 6244389"/>
              <a:gd name="connsiteY1" fmla="*/ 12032 h 5426243"/>
              <a:gd name="connsiteX2" fmla="*/ 6244389 w 6244389"/>
              <a:gd name="connsiteY2" fmla="*/ 2755232 h 5426243"/>
              <a:gd name="connsiteX3" fmla="*/ 4704347 w 6244389"/>
              <a:gd name="connsiteY3" fmla="*/ 5414211 h 5426243"/>
              <a:gd name="connsiteX4" fmla="*/ 1564105 w 6244389"/>
              <a:gd name="connsiteY4" fmla="*/ 5426243 h 5426243"/>
              <a:gd name="connsiteX5" fmla="*/ 0 w 6244389"/>
              <a:gd name="connsiteY5" fmla="*/ 2731169 h 5426243"/>
              <a:gd name="connsiteX6" fmla="*/ 1552073 w 6244389"/>
              <a:gd name="connsiteY6" fmla="*/ 0 h 54262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4389" h="5426243">
                <a:moveTo>
                  <a:pt x="1552073" y="0"/>
                </a:moveTo>
                <a:lnTo>
                  <a:pt x="4704347" y="12032"/>
                </a:lnTo>
                <a:lnTo>
                  <a:pt x="6244389" y="2755232"/>
                </a:lnTo>
                <a:lnTo>
                  <a:pt x="4704347" y="5414211"/>
                </a:lnTo>
                <a:lnTo>
                  <a:pt x="1564105" y="5426243"/>
                </a:lnTo>
                <a:lnTo>
                  <a:pt x="0" y="2731169"/>
                </a:lnTo>
                <a:lnTo>
                  <a:pt x="1552073" y="0"/>
                </a:lnTo>
                <a:close/>
              </a:path>
            </a:pathLst>
          </a:cu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noAutofit/>
          </a:bodyPr>
          <a:lstStyle/>
          <a:p>
            <a:pPr algn="ctr"/>
            <a:r>
              <a:rPr lang="en-US" sz="1100" kern="0">
                <a:solidFill>
                  <a:prstClr val="white"/>
                </a:solidFill>
                <a:latin typeface="Verdana" panose="020B0604030504040204" pitchFamily="34" charset="0"/>
                <a:ea typeface="Verdana" panose="020B0604030504040204" pitchFamily="34" charset="0"/>
              </a:rPr>
              <a:t>Create the ASR form </a:t>
            </a:r>
          </a:p>
        </p:txBody>
      </p:sp>
      <p:sp>
        <p:nvSpPr>
          <p:cNvPr id="100" name="Rounded Rectangle 99"/>
          <p:cNvSpPr/>
          <p:nvPr/>
        </p:nvSpPr>
        <p:spPr>
          <a:xfrm>
            <a:off x="7442095" y="199617"/>
            <a:ext cx="4295220" cy="804653"/>
          </a:xfrm>
          <a:prstGeom prst="roundRect">
            <a:avLst/>
          </a:prstGeom>
          <a:solidFill>
            <a:srgbClr val="F9F9F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b="1">
                <a:solidFill>
                  <a:srgbClr val="2DA2BF"/>
                </a:solidFill>
                <a:latin typeface="Verdana" panose="020B0604030504040204" pitchFamily="34" charset="0"/>
                <a:ea typeface="Verdana" panose="020B0604030504040204" pitchFamily="34" charset="0"/>
              </a:rPr>
              <a:t>Solution</a:t>
            </a:r>
          </a:p>
        </p:txBody>
      </p:sp>
      <p:grpSp>
        <p:nvGrpSpPr>
          <p:cNvPr id="101" name="Group 100"/>
          <p:cNvGrpSpPr/>
          <p:nvPr/>
        </p:nvGrpSpPr>
        <p:grpSpPr>
          <a:xfrm>
            <a:off x="7442095" y="79370"/>
            <a:ext cx="456508" cy="393344"/>
            <a:chOff x="608927" y="4139945"/>
            <a:chExt cx="269282" cy="254868"/>
          </a:xfrm>
          <a:solidFill>
            <a:srgbClr val="92D050"/>
          </a:solidFill>
        </p:grpSpPr>
        <p:sp>
          <p:nvSpPr>
            <p:cNvPr id="102" name="Freeform 240"/>
            <p:cNvSpPr>
              <a:spLocks/>
            </p:cNvSpPr>
            <p:nvPr/>
          </p:nvSpPr>
          <p:spPr bwMode="auto">
            <a:xfrm>
              <a:off x="658735" y="4139945"/>
              <a:ext cx="219474" cy="189167"/>
            </a:xfrm>
            <a:custGeom>
              <a:avLst/>
              <a:gdLst>
                <a:gd name="T0" fmla="*/ 407 w 445"/>
                <a:gd name="T1" fmla="*/ 0 h 383"/>
                <a:gd name="T2" fmla="*/ 389 w 445"/>
                <a:gd name="T3" fmla="*/ 5 h 383"/>
                <a:gd name="T4" fmla="*/ 134 w 445"/>
                <a:gd name="T5" fmla="*/ 287 h 383"/>
                <a:gd name="T6" fmla="*/ 64 w 445"/>
                <a:gd name="T7" fmla="*/ 196 h 383"/>
                <a:gd name="T8" fmla="*/ 38 w 445"/>
                <a:gd name="T9" fmla="*/ 183 h 383"/>
                <a:gd name="T10" fmla="*/ 18 w 445"/>
                <a:gd name="T11" fmla="*/ 190 h 383"/>
                <a:gd name="T12" fmla="*/ 11 w 445"/>
                <a:gd name="T13" fmla="*/ 237 h 383"/>
                <a:gd name="T14" fmla="*/ 113 w 445"/>
                <a:gd name="T15" fmla="*/ 370 h 383"/>
                <a:gd name="T16" fmla="*/ 140 w 445"/>
                <a:gd name="T17" fmla="*/ 383 h 383"/>
                <a:gd name="T18" fmla="*/ 144 w 445"/>
                <a:gd name="T19" fmla="*/ 383 h 383"/>
                <a:gd name="T20" fmla="*/ 170 w 445"/>
                <a:gd name="T21" fmla="*/ 363 h 383"/>
                <a:gd name="T22" fmla="*/ 425 w 445"/>
                <a:gd name="T23" fmla="*/ 61 h 383"/>
                <a:gd name="T24" fmla="*/ 435 w 445"/>
                <a:gd name="T25" fmla="*/ 15 h 383"/>
                <a:gd name="T26" fmla="*/ 407 w 445"/>
                <a:gd name="T27" fmla="*/ 0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5" h="383">
                  <a:moveTo>
                    <a:pt x="407" y="0"/>
                  </a:moveTo>
                  <a:cubicBezTo>
                    <a:pt x="401" y="0"/>
                    <a:pt x="395" y="1"/>
                    <a:pt x="389" y="5"/>
                  </a:cubicBezTo>
                  <a:cubicBezTo>
                    <a:pt x="256" y="91"/>
                    <a:pt x="173" y="218"/>
                    <a:pt x="134" y="287"/>
                  </a:cubicBezTo>
                  <a:lnTo>
                    <a:pt x="64" y="196"/>
                  </a:lnTo>
                  <a:cubicBezTo>
                    <a:pt x="58" y="188"/>
                    <a:pt x="48" y="183"/>
                    <a:pt x="38" y="183"/>
                  </a:cubicBezTo>
                  <a:cubicBezTo>
                    <a:pt x="31" y="183"/>
                    <a:pt x="24" y="185"/>
                    <a:pt x="18" y="190"/>
                  </a:cubicBezTo>
                  <a:cubicBezTo>
                    <a:pt x="3" y="201"/>
                    <a:pt x="0" y="222"/>
                    <a:pt x="11" y="237"/>
                  </a:cubicBezTo>
                  <a:lnTo>
                    <a:pt x="113" y="370"/>
                  </a:lnTo>
                  <a:cubicBezTo>
                    <a:pt x="120" y="378"/>
                    <a:pt x="130" y="383"/>
                    <a:pt x="140" y="383"/>
                  </a:cubicBezTo>
                  <a:cubicBezTo>
                    <a:pt x="141" y="383"/>
                    <a:pt x="143" y="383"/>
                    <a:pt x="144" y="383"/>
                  </a:cubicBezTo>
                  <a:cubicBezTo>
                    <a:pt x="156" y="381"/>
                    <a:pt x="166" y="374"/>
                    <a:pt x="170" y="363"/>
                  </a:cubicBezTo>
                  <a:cubicBezTo>
                    <a:pt x="171" y="361"/>
                    <a:pt x="255" y="171"/>
                    <a:pt x="425" y="61"/>
                  </a:cubicBezTo>
                  <a:cubicBezTo>
                    <a:pt x="441" y="51"/>
                    <a:pt x="445" y="30"/>
                    <a:pt x="435" y="15"/>
                  </a:cubicBezTo>
                  <a:cubicBezTo>
                    <a:pt x="429" y="5"/>
                    <a:pt x="418" y="0"/>
                    <a:pt x="407"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3" name="Freeform 241"/>
            <p:cNvSpPr>
              <a:spLocks/>
            </p:cNvSpPr>
            <p:nvPr/>
          </p:nvSpPr>
          <p:spPr bwMode="auto">
            <a:xfrm>
              <a:off x="608927" y="4164657"/>
              <a:ext cx="230280" cy="230156"/>
            </a:xfrm>
            <a:custGeom>
              <a:avLst/>
              <a:gdLst>
                <a:gd name="T0" fmla="*/ 400 w 467"/>
                <a:gd name="T1" fmla="*/ 172 h 466"/>
                <a:gd name="T2" fmla="*/ 400 w 467"/>
                <a:gd name="T3" fmla="*/ 400 h 466"/>
                <a:gd name="T4" fmla="*/ 67 w 467"/>
                <a:gd name="T5" fmla="*/ 400 h 466"/>
                <a:gd name="T6" fmla="*/ 67 w 467"/>
                <a:gd name="T7" fmla="*/ 66 h 466"/>
                <a:gd name="T8" fmla="*/ 315 w 467"/>
                <a:gd name="T9" fmla="*/ 66 h 466"/>
                <a:gd name="T10" fmla="*/ 379 w 467"/>
                <a:gd name="T11" fmla="*/ 0 h 466"/>
                <a:gd name="T12" fmla="*/ 67 w 467"/>
                <a:gd name="T13" fmla="*/ 0 h 466"/>
                <a:gd name="T14" fmla="*/ 0 w 467"/>
                <a:gd name="T15" fmla="*/ 66 h 466"/>
                <a:gd name="T16" fmla="*/ 0 w 467"/>
                <a:gd name="T17" fmla="*/ 400 h 466"/>
                <a:gd name="T18" fmla="*/ 67 w 467"/>
                <a:gd name="T19" fmla="*/ 466 h 466"/>
                <a:gd name="T20" fmla="*/ 400 w 467"/>
                <a:gd name="T21" fmla="*/ 466 h 466"/>
                <a:gd name="T22" fmla="*/ 467 w 467"/>
                <a:gd name="T23" fmla="*/ 400 h 466"/>
                <a:gd name="T24" fmla="*/ 467 w 467"/>
                <a:gd name="T25" fmla="*/ 100 h 466"/>
                <a:gd name="T26" fmla="*/ 400 w 467"/>
                <a:gd name="T27" fmla="*/ 172 h 4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67" h="466">
                  <a:moveTo>
                    <a:pt x="400" y="172"/>
                  </a:moveTo>
                  <a:lnTo>
                    <a:pt x="400" y="400"/>
                  </a:lnTo>
                  <a:lnTo>
                    <a:pt x="67" y="400"/>
                  </a:lnTo>
                  <a:lnTo>
                    <a:pt x="67" y="66"/>
                  </a:lnTo>
                  <a:lnTo>
                    <a:pt x="315" y="66"/>
                  </a:lnTo>
                  <a:cubicBezTo>
                    <a:pt x="334" y="44"/>
                    <a:pt x="355" y="22"/>
                    <a:pt x="379" y="0"/>
                  </a:cubicBezTo>
                  <a:lnTo>
                    <a:pt x="67" y="0"/>
                  </a:lnTo>
                  <a:cubicBezTo>
                    <a:pt x="30" y="0"/>
                    <a:pt x="0" y="30"/>
                    <a:pt x="0" y="66"/>
                  </a:cubicBezTo>
                  <a:lnTo>
                    <a:pt x="0" y="400"/>
                  </a:lnTo>
                  <a:cubicBezTo>
                    <a:pt x="0" y="436"/>
                    <a:pt x="30" y="466"/>
                    <a:pt x="67" y="466"/>
                  </a:cubicBezTo>
                  <a:lnTo>
                    <a:pt x="400" y="466"/>
                  </a:lnTo>
                  <a:cubicBezTo>
                    <a:pt x="437" y="466"/>
                    <a:pt x="467" y="436"/>
                    <a:pt x="467" y="400"/>
                  </a:cubicBezTo>
                  <a:lnTo>
                    <a:pt x="467" y="100"/>
                  </a:lnTo>
                  <a:cubicBezTo>
                    <a:pt x="442" y="124"/>
                    <a:pt x="419" y="148"/>
                    <a:pt x="400" y="172"/>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127" name="TextBox 17">
            <a:extLst>
              <a:ext uri="{FF2B5EF4-FFF2-40B4-BE49-F238E27FC236}">
                <a16:creationId xmlns:a16="http://schemas.microsoft.com/office/drawing/2014/main" id="{400EE01B-E7C5-4C7B-B5E3-872F1528F926}"/>
              </a:ext>
            </a:extLst>
          </p:cNvPr>
          <p:cNvSpPr txBox="1"/>
          <p:nvPr/>
        </p:nvSpPr>
        <p:spPr>
          <a:xfrm>
            <a:off x="887505" y="227053"/>
            <a:ext cx="6165909" cy="4001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0" cap="none" spc="0" normalizeH="0" baseline="0" noProof="0" dirty="0">
                <a:ln>
                  <a:noFill/>
                </a:ln>
                <a:solidFill>
                  <a:srgbClr val="2DA2BF"/>
                </a:solidFill>
                <a:effectLst/>
                <a:uLnTx/>
                <a:uFillTx/>
                <a:latin typeface="Verdana" panose="020B0604030504040204" pitchFamily="34" charset="0"/>
                <a:ea typeface="Verdana" panose="020B0604030504040204" pitchFamily="34" charset="0"/>
              </a:rPr>
              <a:t>Order the pieces of the process puzzle</a:t>
            </a:r>
          </a:p>
        </p:txBody>
      </p:sp>
      <p:sp>
        <p:nvSpPr>
          <p:cNvPr id="128" name="Rectángulo 1">
            <a:extLst>
              <a:ext uri="{FF2B5EF4-FFF2-40B4-BE49-F238E27FC236}">
                <a16:creationId xmlns:a16="http://schemas.microsoft.com/office/drawing/2014/main" id="{8D7BDE37-0F2D-4FF3-8ED6-3D13CE163856}"/>
              </a:ext>
            </a:extLst>
          </p:cNvPr>
          <p:cNvSpPr/>
          <p:nvPr/>
        </p:nvSpPr>
        <p:spPr>
          <a:xfrm>
            <a:off x="631745" y="1427151"/>
            <a:ext cx="10620447" cy="1018292"/>
          </a:xfrm>
          <a:prstGeom prst="rect">
            <a:avLst/>
          </a:prstGeom>
        </p:spPr>
        <p:txBody>
          <a:bodyPr wrap="square" lIns="91440" tIns="45720" rIns="91440" bIns="45720" anchor="t">
            <a:spAutoFit/>
          </a:bodyPr>
          <a:lstStyle/>
          <a:p>
            <a:pPr algn="just">
              <a:lnSpc>
                <a:spcPct val="150000"/>
              </a:lnSpc>
              <a:defRPr/>
            </a:pPr>
            <a:r>
              <a:rPr lang="en-GB" sz="1400" kern="0" dirty="0">
                <a:latin typeface="Verdana"/>
                <a:ea typeface="Verdana"/>
              </a:rPr>
              <a:t>A sponsor wants to submit an ASR related to one CT with two MSCs. During the assessment of the ASR (once submitted), the </a:t>
            </a:r>
            <a:r>
              <a:rPr lang="en-GB" sz="1400" kern="0" dirty="0" err="1">
                <a:latin typeface="Verdana"/>
                <a:ea typeface="Verdana"/>
              </a:rPr>
              <a:t>saMS</a:t>
            </a:r>
            <a:r>
              <a:rPr lang="en-GB" sz="1400" kern="0" dirty="0">
                <a:latin typeface="Verdana"/>
                <a:ea typeface="Verdana"/>
              </a:rPr>
              <a:t> raises an RFI to the sponsor. </a:t>
            </a:r>
            <a:r>
              <a:rPr lang="en-US" sz="1400" b="1" kern="0" dirty="0">
                <a:latin typeface="Verdana"/>
                <a:ea typeface="Verdana"/>
              </a:rPr>
              <a:t>Drag and drop the pieces </a:t>
            </a:r>
            <a:r>
              <a:rPr lang="en-US" sz="1400" kern="0" dirty="0">
                <a:latin typeface="Verdana"/>
                <a:ea typeface="Verdana"/>
              </a:rPr>
              <a:t>to show the sequence of steps that the ASR submitter should follow in CTIS to submit the ASR and to submit an RFI response.</a:t>
            </a:r>
          </a:p>
        </p:txBody>
      </p:sp>
      <p:sp>
        <p:nvSpPr>
          <p:cNvPr id="42" name="Rounded Rectangle 38">
            <a:extLst>
              <a:ext uri="{FF2B5EF4-FFF2-40B4-BE49-F238E27FC236}">
                <a16:creationId xmlns:a16="http://schemas.microsoft.com/office/drawing/2014/main" id="{8A17DA8B-402B-4684-8D8D-F5083B4278B2}"/>
              </a:ext>
            </a:extLst>
          </p:cNvPr>
          <p:cNvSpPr/>
          <p:nvPr/>
        </p:nvSpPr>
        <p:spPr>
          <a:xfrm>
            <a:off x="982132" y="823498"/>
            <a:ext cx="2700000" cy="432808"/>
          </a:xfrm>
          <a:prstGeom prst="roundRect">
            <a:avLst/>
          </a:prstGeom>
          <a:solidFill>
            <a:srgbClr val="2DA2B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a:latin typeface="Verdana" panose="020B0604030504040204" pitchFamily="34" charset="0"/>
                <a:ea typeface="Verdana" panose="020B0604030504040204" pitchFamily="34" charset="0"/>
              </a:rPr>
              <a:t>Case scenario 2</a:t>
            </a:r>
          </a:p>
        </p:txBody>
      </p:sp>
      <p:sp>
        <p:nvSpPr>
          <p:cNvPr id="22" name="Rounded Rectangle 43">
            <a:extLst>
              <a:ext uri="{FF2B5EF4-FFF2-40B4-BE49-F238E27FC236}">
                <a16:creationId xmlns:a16="http://schemas.microsoft.com/office/drawing/2014/main" id="{F757B6F1-DAD4-47F1-AE0E-8F1F517C3DA0}"/>
              </a:ext>
            </a:extLst>
          </p:cNvPr>
          <p:cNvSpPr/>
          <p:nvPr/>
        </p:nvSpPr>
        <p:spPr>
          <a:xfrm>
            <a:off x="3757186" y="832481"/>
            <a:ext cx="4489052" cy="432808"/>
          </a:xfrm>
          <a:prstGeom prst="roundRect">
            <a:avLst/>
          </a:prstGeom>
          <a:noFill/>
          <a:ln w="28575">
            <a:solidFill>
              <a:srgbClr val="2DA2B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b="1">
                <a:solidFill>
                  <a:srgbClr val="2DA2BF"/>
                </a:solidFill>
                <a:latin typeface="Verdana" panose="020B0604030504040204" pitchFamily="34" charset="0"/>
                <a:ea typeface="Verdana" panose="020B0604030504040204" pitchFamily="34" charset="0"/>
              </a:rPr>
              <a:t>Create and submit an ASR submission form and respond a related RFI</a:t>
            </a:r>
          </a:p>
        </p:txBody>
      </p:sp>
      <p:sp>
        <p:nvSpPr>
          <p:cNvPr id="23" name="Rounded Rectangle 61">
            <a:extLst>
              <a:ext uri="{FF2B5EF4-FFF2-40B4-BE49-F238E27FC236}">
                <a16:creationId xmlns:a16="http://schemas.microsoft.com/office/drawing/2014/main" id="{22F4E2C9-F4D3-49C9-A598-377A96BE84CC}"/>
              </a:ext>
            </a:extLst>
          </p:cNvPr>
          <p:cNvSpPr/>
          <p:nvPr/>
        </p:nvSpPr>
        <p:spPr>
          <a:xfrm>
            <a:off x="21903" y="3990975"/>
            <a:ext cx="1219683" cy="639724"/>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a:solidFill>
                  <a:schemeClr val="tx1"/>
                </a:solidFill>
                <a:latin typeface="Verdana" panose="020B0604030504040204" pitchFamily="34" charset="0"/>
                <a:ea typeface="Verdana" panose="020B0604030504040204" pitchFamily="34" charset="0"/>
              </a:rPr>
              <a:t>Solution:</a:t>
            </a:r>
          </a:p>
        </p:txBody>
      </p:sp>
    </p:spTree>
    <p:custDataLst>
      <p:tags r:id="rId1"/>
    </p:custDataLst>
    <p:extLst>
      <p:ext uri="{BB962C8B-B14F-4D97-AF65-F5344CB8AC3E}">
        <p14:creationId xmlns:p14="http://schemas.microsoft.com/office/powerpoint/2010/main" val="290298438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ARTICULATE_SLIDE_COUNT" val="7"/>
  <p:tag name="ARTICULATE_PROJECT_OPEN" val="0"/>
</p:tagLst>
</file>

<file path=ppt/tags/tag10.xml><?xml version="1.0" encoding="utf-8"?>
<p:tagLst xmlns:a="http://schemas.openxmlformats.org/drawingml/2006/main" xmlns:r="http://schemas.openxmlformats.org/officeDocument/2006/relationships" xmlns:p="http://schemas.openxmlformats.org/presentationml/2006/main">
  <p:tag name="POWER_USER_TAGS_ICONS" val="problem-based-learning_POWER_USER_SEPARATOR_ICONS_think_POWER_USER_SEPARATOR_ICONS_smart_POWER_USER_SEPARATOR_ICONS_recreation_POWER_USER_SEPARATOR_ICONS_puzzle_POWER_USER_SEPARATOR_ICONS_play_POWER_USER_SEPARATOR_ICONS_head_POWER_USER_SEPARATOR_ICONS_game_POWER_USER_SEPARATOR_ICONS_fun_POWER_USER_SEPARATOR_ICONS_challenge_POWER_USER_SEPARATOR_ICONS_thinking"/>
</p:tagLst>
</file>

<file path=ppt/tags/tag11.xml><?xml version="1.0" encoding="utf-8"?>
<p:tagLst xmlns:a="http://schemas.openxmlformats.org/drawingml/2006/main" xmlns:r="http://schemas.openxmlformats.org/officeDocument/2006/relationships" xmlns:p="http://schemas.openxmlformats.org/presentationml/2006/main">
  <p:tag name="POWER_USER_TAGS_ICONS" val="problem-based-learning_POWER_USER_SEPARATOR_ICONS_think_POWER_USER_SEPARATOR_ICONS_smart_POWER_USER_SEPARATOR_ICONS_recreation_POWER_USER_SEPARATOR_ICONS_puzzle_POWER_USER_SEPARATOR_ICONS_play_POWER_USER_SEPARATOR_ICONS_head_POWER_USER_SEPARATOR_ICONS_game_POWER_USER_SEPARATOR_ICONS_fun_POWER_USER_SEPARATOR_ICONS_challenge_POWER_USER_SEPARATOR_ICONS_thinking"/>
</p:tagLst>
</file>

<file path=ppt/tags/tag12.xml><?xml version="1.0" encoding="utf-8"?>
<p:tagLst xmlns:a="http://schemas.openxmlformats.org/drawingml/2006/main" xmlns:r="http://schemas.openxmlformats.org/officeDocument/2006/relationships" xmlns:p="http://schemas.openxmlformats.org/presentationml/2006/main">
  <p:tag name="POWER_USER_TAGS_ICONS" val="problem-based-learning_POWER_USER_SEPARATOR_ICONS_think_POWER_USER_SEPARATOR_ICONS_smart_POWER_USER_SEPARATOR_ICONS_recreation_POWER_USER_SEPARATOR_ICONS_puzzle_POWER_USER_SEPARATOR_ICONS_play_POWER_USER_SEPARATOR_ICONS_head_POWER_USER_SEPARATOR_ICONS_game_POWER_USER_SEPARATOR_ICONS_fun_POWER_USER_SEPARATOR_ICONS_challenge_POWER_USER_SEPARATOR_ICONS_thinking"/>
</p:tagLst>
</file>

<file path=ppt/tags/tag13.xml><?xml version="1.0" encoding="utf-8"?>
<p:tagLst xmlns:a="http://schemas.openxmlformats.org/drawingml/2006/main" xmlns:r="http://schemas.openxmlformats.org/officeDocument/2006/relationships" xmlns:p="http://schemas.openxmlformats.org/presentationml/2006/main">
  <p:tag name="POWER_USER_TAGS_ICONS" val="problem-based-learning_POWER_USER_SEPARATOR_ICONS_think_POWER_USER_SEPARATOR_ICONS_smart_POWER_USER_SEPARATOR_ICONS_recreation_POWER_USER_SEPARATOR_ICONS_puzzle_POWER_USER_SEPARATOR_ICONS_play_POWER_USER_SEPARATOR_ICONS_head_POWER_USER_SEPARATOR_ICONS_game_POWER_USER_SEPARATOR_ICONS_fun_POWER_USER_SEPARATOR_ICONS_challenge_POWER_USER_SEPARATOR_ICONS_thinking"/>
</p:tagLst>
</file>

<file path=ppt/tags/tag14.xml><?xml version="1.0" encoding="utf-8"?>
<p:tagLst xmlns:a="http://schemas.openxmlformats.org/drawingml/2006/main" xmlns:r="http://schemas.openxmlformats.org/officeDocument/2006/relationships" xmlns:p="http://schemas.openxmlformats.org/presentationml/2006/main">
  <p:tag name="POWER_USER_TAGS_ICONS" val="problem-based-learning_POWER_USER_SEPARATOR_ICONS_think_POWER_USER_SEPARATOR_ICONS_smart_POWER_USER_SEPARATOR_ICONS_recreation_POWER_USER_SEPARATOR_ICONS_puzzle_POWER_USER_SEPARATOR_ICONS_play_POWER_USER_SEPARATOR_ICONS_head_POWER_USER_SEPARATOR_ICONS_game_POWER_USER_SEPARATOR_ICONS_fun_POWER_USER_SEPARATOR_ICONS_challenge_POWER_USER_SEPARATOR_ICONS_thinking"/>
</p:tagLst>
</file>

<file path=ppt/tags/tag15.xml><?xml version="1.0" encoding="utf-8"?>
<p:tagLst xmlns:a="http://schemas.openxmlformats.org/drawingml/2006/main" xmlns:r="http://schemas.openxmlformats.org/officeDocument/2006/relationships" xmlns:p="http://schemas.openxmlformats.org/presentationml/2006/main">
  <p:tag name="POWER_USER_TAGS_ICONS" val="problem-based-learning_POWER_USER_SEPARATOR_ICONS_think_POWER_USER_SEPARATOR_ICONS_smart_POWER_USER_SEPARATOR_ICONS_recreation_POWER_USER_SEPARATOR_ICONS_puzzle_POWER_USER_SEPARATOR_ICONS_play_POWER_USER_SEPARATOR_ICONS_head_POWER_USER_SEPARATOR_ICONS_game_POWER_USER_SEPARATOR_ICONS_fun_POWER_USER_SEPARATOR_ICONS_challenge_POWER_USER_SEPARATOR_ICONS_thinking"/>
</p:tagLst>
</file>

<file path=ppt/tags/tag16.xml><?xml version="1.0" encoding="utf-8"?>
<p:tagLst xmlns:a="http://schemas.openxmlformats.org/drawingml/2006/main" xmlns:r="http://schemas.openxmlformats.org/officeDocument/2006/relationships" xmlns:p="http://schemas.openxmlformats.org/presentationml/2006/main">
  <p:tag name="POWER_USER_TAGS_ICONS" val="problem-based-learning_POWER_USER_SEPARATOR_ICONS_think_POWER_USER_SEPARATOR_ICONS_smart_POWER_USER_SEPARATOR_ICONS_recreation_POWER_USER_SEPARATOR_ICONS_puzzle_POWER_USER_SEPARATOR_ICONS_play_POWER_USER_SEPARATOR_ICONS_head_POWER_USER_SEPARATOR_ICONS_game_POWER_USER_SEPARATOR_ICONS_fun_POWER_USER_SEPARATOR_ICONS_challenge_POWER_USER_SEPARATOR_ICONS_thinking"/>
</p:tagLst>
</file>

<file path=ppt/tags/tag17.xml><?xml version="1.0" encoding="utf-8"?>
<p:tagLst xmlns:a="http://schemas.openxmlformats.org/drawingml/2006/main" xmlns:r="http://schemas.openxmlformats.org/officeDocument/2006/relationships" xmlns:p="http://schemas.openxmlformats.org/presentationml/2006/main">
  <p:tag name="POWER_USER_TAGS_ICONS" val="problem-based-learning_POWER_USER_SEPARATOR_ICONS_think_POWER_USER_SEPARATOR_ICONS_smart_POWER_USER_SEPARATOR_ICONS_recreation_POWER_USER_SEPARATOR_ICONS_puzzle_POWER_USER_SEPARATOR_ICONS_play_POWER_USER_SEPARATOR_ICONS_head_POWER_USER_SEPARATOR_ICONS_game_POWER_USER_SEPARATOR_ICONS_fun_POWER_USER_SEPARATOR_ICONS_challenge_POWER_USER_SEPARATOR_ICONS_thinking"/>
</p:tagLst>
</file>

<file path=ppt/tags/tag18.xml><?xml version="1.0" encoding="utf-8"?>
<p:tagLst xmlns:a="http://schemas.openxmlformats.org/drawingml/2006/main" xmlns:r="http://schemas.openxmlformats.org/officeDocument/2006/relationships" xmlns:p="http://schemas.openxmlformats.org/presentationml/2006/main">
  <p:tag name="POWER_USER_TAGS_ICONS" val="problem-based-learning_POWER_USER_SEPARATOR_ICONS_think_POWER_USER_SEPARATOR_ICONS_smart_POWER_USER_SEPARATOR_ICONS_recreation_POWER_USER_SEPARATOR_ICONS_puzzle_POWER_USER_SEPARATOR_ICONS_play_POWER_USER_SEPARATOR_ICONS_head_POWER_USER_SEPARATOR_ICONS_game_POWER_USER_SEPARATOR_ICONS_fun_POWER_USER_SEPARATOR_ICONS_challenge_POWER_USER_SEPARATOR_ICONS_thinking"/>
</p:tagLst>
</file>

<file path=ppt/tags/tag19.xml><?xml version="1.0" encoding="utf-8"?>
<p:tagLst xmlns:a="http://schemas.openxmlformats.org/drawingml/2006/main" xmlns:r="http://schemas.openxmlformats.org/officeDocument/2006/relationships" xmlns:p="http://schemas.openxmlformats.org/presentationml/2006/main">
  <p:tag name="POWER_USER_TAGS_ICONS" val="problem-based-learning_POWER_USER_SEPARATOR_ICONS_think_POWER_USER_SEPARATOR_ICONS_smart_POWER_USER_SEPARATOR_ICONS_recreation_POWER_USER_SEPARATOR_ICONS_puzzle_POWER_USER_SEPARATOR_ICONS_play_POWER_USER_SEPARATOR_ICONS_head_POWER_USER_SEPARATOR_ICONS_game_POWER_USER_SEPARATOR_ICONS_fun_POWER_USER_SEPARATOR_ICONS_challenge_POWER_USER_SEPARATOR_ICONS_thinking"/>
</p:tagLst>
</file>

<file path=ppt/tags/tag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0.xml><?xml version="1.0" encoding="utf-8"?>
<p:tagLst xmlns:a="http://schemas.openxmlformats.org/drawingml/2006/main" xmlns:r="http://schemas.openxmlformats.org/officeDocument/2006/relationships" xmlns:p="http://schemas.openxmlformats.org/presentationml/2006/main">
  <p:tag name="POWER_USER_TAGS_ICONS" val="problem-based-learning_POWER_USER_SEPARATOR_ICONS_think_POWER_USER_SEPARATOR_ICONS_smart_POWER_USER_SEPARATOR_ICONS_recreation_POWER_USER_SEPARATOR_ICONS_puzzle_POWER_USER_SEPARATOR_ICONS_play_POWER_USER_SEPARATOR_ICONS_head_POWER_USER_SEPARATOR_ICONS_game_POWER_USER_SEPARATOR_ICONS_fun_POWER_USER_SEPARATOR_ICONS_challenge_POWER_USER_SEPARATOR_ICONS_thinking"/>
</p:tagLst>
</file>

<file path=ppt/tags/tag21.xml><?xml version="1.0" encoding="utf-8"?>
<p:tagLst xmlns:a="http://schemas.openxmlformats.org/drawingml/2006/main" xmlns:r="http://schemas.openxmlformats.org/officeDocument/2006/relationships" xmlns:p="http://schemas.openxmlformats.org/presentationml/2006/main">
  <p:tag name="POWER_USER_TAGS_ICONS" val="problem-based-learning_POWER_USER_SEPARATOR_ICONS_think_POWER_USER_SEPARATOR_ICONS_smart_POWER_USER_SEPARATOR_ICONS_recreation_POWER_USER_SEPARATOR_ICONS_puzzle_POWER_USER_SEPARATOR_ICONS_play_POWER_USER_SEPARATOR_ICONS_head_POWER_USER_SEPARATOR_ICONS_game_POWER_USER_SEPARATOR_ICONS_fun_POWER_USER_SEPARATOR_ICONS_challenge_POWER_USER_SEPARATOR_ICONS_thinking"/>
</p:tagLst>
</file>

<file path=ppt/tags/tag22.xml><?xml version="1.0" encoding="utf-8"?>
<p:tagLst xmlns:a="http://schemas.openxmlformats.org/drawingml/2006/main" xmlns:r="http://schemas.openxmlformats.org/officeDocument/2006/relationships" xmlns:p="http://schemas.openxmlformats.org/presentationml/2006/main">
  <p:tag name="POWER_USER_TAGS_ICONS" val="problem-based-learning_POWER_USER_SEPARATOR_ICONS_think_POWER_USER_SEPARATOR_ICONS_smart_POWER_USER_SEPARATOR_ICONS_recreation_POWER_USER_SEPARATOR_ICONS_puzzle_POWER_USER_SEPARATOR_ICONS_play_POWER_USER_SEPARATOR_ICONS_head_POWER_USER_SEPARATOR_ICONS_game_POWER_USER_SEPARATOR_ICONS_fun_POWER_USER_SEPARATOR_ICONS_challenge_POWER_USER_SEPARATOR_ICONS_thinking"/>
</p:tagLst>
</file>

<file path=ppt/tags/tag23.xml><?xml version="1.0" encoding="utf-8"?>
<p:tagLst xmlns:a="http://schemas.openxmlformats.org/drawingml/2006/main" xmlns:r="http://schemas.openxmlformats.org/officeDocument/2006/relationships" xmlns:p="http://schemas.openxmlformats.org/presentationml/2006/main">
  <p:tag name="POWER_USER_TAGS_ICONS" val="problem-based-learning_POWER_USER_SEPARATOR_ICONS_think_POWER_USER_SEPARATOR_ICONS_smart_POWER_USER_SEPARATOR_ICONS_recreation_POWER_USER_SEPARATOR_ICONS_puzzle_POWER_USER_SEPARATOR_ICONS_play_POWER_USER_SEPARATOR_ICONS_head_POWER_USER_SEPARATOR_ICONS_game_POWER_USER_SEPARATOR_ICONS_fun_POWER_USER_SEPARATOR_ICONS_challenge_POWER_USER_SEPARATOR_ICONS_thinking"/>
</p:tagLst>
</file>

<file path=ppt/tags/tag24.xml><?xml version="1.0" encoding="utf-8"?>
<p:tagLst xmlns:a="http://schemas.openxmlformats.org/drawingml/2006/main" xmlns:r="http://schemas.openxmlformats.org/officeDocument/2006/relationships" xmlns:p="http://schemas.openxmlformats.org/presentationml/2006/main">
  <p:tag name="POWER_USER_TAGS_ICONS" val="problem-based-learning_POWER_USER_SEPARATOR_ICONS_think_POWER_USER_SEPARATOR_ICONS_smart_POWER_USER_SEPARATOR_ICONS_recreation_POWER_USER_SEPARATOR_ICONS_puzzle_POWER_USER_SEPARATOR_ICONS_play_POWER_USER_SEPARATOR_ICONS_head_POWER_USER_SEPARATOR_ICONS_game_POWER_USER_SEPARATOR_ICONS_fun_POWER_USER_SEPARATOR_ICONS_challenge_POWER_USER_SEPARATOR_ICONS_thinking"/>
</p:tagLst>
</file>

<file path=ppt/tags/tag25.xml><?xml version="1.0" encoding="utf-8"?>
<p:tagLst xmlns:a="http://schemas.openxmlformats.org/drawingml/2006/main" xmlns:r="http://schemas.openxmlformats.org/officeDocument/2006/relationships" xmlns:p="http://schemas.openxmlformats.org/presentationml/2006/main">
  <p:tag name="POWER_USER_TAGS_ICONS" val="problem-based-learning_POWER_USER_SEPARATOR_ICONS_think_POWER_USER_SEPARATOR_ICONS_smart_POWER_USER_SEPARATOR_ICONS_recreation_POWER_USER_SEPARATOR_ICONS_puzzle_POWER_USER_SEPARATOR_ICONS_play_POWER_USER_SEPARATOR_ICONS_head_POWER_USER_SEPARATOR_ICONS_game_POWER_USER_SEPARATOR_ICONS_fun_POWER_USER_SEPARATOR_ICONS_challenge_POWER_USER_SEPARATOR_ICONS_thinking"/>
</p:tagLst>
</file>

<file path=ppt/tags/tag26.xml><?xml version="1.0" encoding="utf-8"?>
<p:tagLst xmlns:a="http://schemas.openxmlformats.org/drawingml/2006/main" xmlns:r="http://schemas.openxmlformats.org/officeDocument/2006/relationships" xmlns:p="http://schemas.openxmlformats.org/presentationml/2006/main">
  <p:tag name="POWER_USER_TAGS_ICONS" val="problem-based-learning_POWER_USER_SEPARATOR_ICONS_think_POWER_USER_SEPARATOR_ICONS_smart_POWER_USER_SEPARATOR_ICONS_recreation_POWER_USER_SEPARATOR_ICONS_puzzle_POWER_USER_SEPARATOR_ICONS_play_POWER_USER_SEPARATOR_ICONS_head_POWER_USER_SEPARATOR_ICONS_game_POWER_USER_SEPARATOR_ICONS_fun_POWER_USER_SEPARATOR_ICONS_challenge_POWER_USER_SEPARATOR_ICONS_thinking"/>
</p:tagLst>
</file>

<file path=ppt/tags/tag27.xml><?xml version="1.0" encoding="utf-8"?>
<p:tagLst xmlns:a="http://schemas.openxmlformats.org/drawingml/2006/main" xmlns:r="http://schemas.openxmlformats.org/officeDocument/2006/relationships" xmlns:p="http://schemas.openxmlformats.org/presentationml/2006/main">
  <p:tag name="POWER_USER_TAGS_ICONS" val="problem-based-learning_POWER_USER_SEPARATOR_ICONS_think_POWER_USER_SEPARATOR_ICONS_smart_POWER_USER_SEPARATOR_ICONS_recreation_POWER_USER_SEPARATOR_ICONS_puzzle_POWER_USER_SEPARATOR_ICONS_play_POWER_USER_SEPARATOR_ICONS_head_POWER_USER_SEPARATOR_ICONS_game_POWER_USER_SEPARATOR_ICONS_fun_POWER_USER_SEPARATOR_ICONS_challenge_POWER_USER_SEPARATOR_ICONS_thinking"/>
</p:tagLst>
</file>

<file path=ppt/tags/tag28.xml><?xml version="1.0" encoding="utf-8"?>
<p:tagLst xmlns:a="http://schemas.openxmlformats.org/drawingml/2006/main" xmlns:r="http://schemas.openxmlformats.org/officeDocument/2006/relationships" xmlns:p="http://schemas.openxmlformats.org/presentationml/2006/main">
  <p:tag name="POWER_USER_ID_TEMPLATES" val="PESTEL_Analysis"/>
  <p:tag name="ARTICULATE_SLIDE_THUMBNAIL_REFRESH" val="1"/>
</p:tagLst>
</file>

<file path=ppt/tags/tag29.xml><?xml version="1.0" encoding="utf-8"?>
<p:tagLst xmlns:a="http://schemas.openxmlformats.org/drawingml/2006/main" xmlns:r="http://schemas.openxmlformats.org/officeDocument/2006/relationships" xmlns:p="http://schemas.openxmlformats.org/presentationml/2006/main">
  <p:tag name="POWER_USER_ID_TEMPLATES" val="PESTEL_Analysis"/>
  <p:tag name="ARTICULATE_SLIDE_THUMBNAIL_REFRESH" val="1"/>
</p:tagLst>
</file>

<file path=ppt/tags/tag3.xml><?xml version="1.0" encoding="utf-8"?>
<p:tagLst xmlns:a="http://schemas.openxmlformats.org/drawingml/2006/main" xmlns:r="http://schemas.openxmlformats.org/officeDocument/2006/relationships" xmlns:p="http://schemas.openxmlformats.org/presentationml/2006/main">
  <p:tag name="POWER_USER_ID_TEMPLATES" val="PESTEL_Analysis"/>
  <p:tag name="ARTICULATE_SLIDE_THUMBNAIL_REFRESH" val="1"/>
</p:tagLst>
</file>

<file path=ppt/tags/tag30.xml><?xml version="1.0" encoding="utf-8"?>
<p:tagLst xmlns:a="http://schemas.openxmlformats.org/drawingml/2006/main" xmlns:r="http://schemas.openxmlformats.org/officeDocument/2006/relationships" xmlns:p="http://schemas.openxmlformats.org/presentationml/2006/main">
  <p:tag name="POWER_USER_TAGS_ICONS" val="technology*logic*select*cursor*mouse*click*choose*"/>
</p:tagLst>
</file>

<file path=ppt/tags/tag31.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32.xml><?xml version="1.0" encoding="utf-8"?>
<p:tagLst xmlns:a="http://schemas.openxmlformats.org/drawingml/2006/main" xmlns:r="http://schemas.openxmlformats.org/officeDocument/2006/relationships" xmlns:p="http://schemas.openxmlformats.org/presentationml/2006/main">
  <p:tag name="POWER_USER_ID_TEMPLATES" val="PESTEL_Analysis"/>
  <p:tag name="ARTICULATE_SLIDE_THUMBNAIL_REFRESH" val="1"/>
</p:tagLst>
</file>

<file path=ppt/tags/tag33.xml><?xml version="1.0" encoding="utf-8"?>
<p:tagLst xmlns:a="http://schemas.openxmlformats.org/drawingml/2006/main" xmlns:r="http://schemas.openxmlformats.org/officeDocument/2006/relationships" xmlns:p="http://schemas.openxmlformats.org/presentationml/2006/main">
  <p:tag name="POWER_USER_TAGS_ICONS" val="technology*logic*select*cursor*mouse*click*choose*"/>
</p:tagLst>
</file>

<file path=ppt/tags/tag34.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35.xml><?xml version="1.0" encoding="utf-8"?>
<p:tagLst xmlns:a="http://schemas.openxmlformats.org/drawingml/2006/main" xmlns:r="http://schemas.openxmlformats.org/officeDocument/2006/relationships" xmlns:p="http://schemas.openxmlformats.org/presentationml/2006/main">
  <p:tag name="POWER_USER_ID_TEMPLATES" val="PESTEL_Analysis"/>
  <p:tag name="ARTICULATE_SLIDE_THUMBNAIL_REFRESH" val="1"/>
</p:tagLst>
</file>

<file path=ppt/tags/tag36.xml><?xml version="1.0" encoding="utf-8"?>
<p:tagLst xmlns:a="http://schemas.openxmlformats.org/drawingml/2006/main" xmlns:r="http://schemas.openxmlformats.org/officeDocument/2006/relationships" xmlns:p="http://schemas.openxmlformats.org/presentationml/2006/main">
  <p:tag name="POWER_USER_ID_TEMPLATES" val="PESTEL_Analysis"/>
  <p:tag name="ARTICULATE_SLIDE_THUMBNAIL_REFRESH" val="1"/>
</p:tagLst>
</file>

<file path=ppt/tags/tag4.xml><?xml version="1.0" encoding="utf-8"?>
<p:tagLst xmlns:a="http://schemas.openxmlformats.org/drawingml/2006/main" xmlns:r="http://schemas.openxmlformats.org/officeDocument/2006/relationships" xmlns:p="http://schemas.openxmlformats.org/presentationml/2006/main">
  <p:tag name="POWER_USER_TAGS_ICONS" val="conversation*people*talk*conference*discussion*tell*speak*exchange*interview"/>
</p:tagLst>
</file>

<file path=ppt/tags/tag5.xml><?xml version="1.0" encoding="utf-8"?>
<p:tagLst xmlns:a="http://schemas.openxmlformats.org/drawingml/2006/main" xmlns:r="http://schemas.openxmlformats.org/officeDocument/2006/relationships" xmlns:p="http://schemas.openxmlformats.org/presentationml/2006/main">
  <p:tag name="POWER_USER_TAGS_ICONS" val="Teamwork*helping*collaboration*people*coworkers*colleagues*creativity*ideas*co-creation*brainstorming*crowsourcing*solution*puzzle pieces*complementarity*synergies*optimizations"/>
</p:tagLst>
</file>

<file path=ppt/tags/tag6.xml><?xml version="1.0" encoding="utf-8"?>
<p:tagLst xmlns:a="http://schemas.openxmlformats.org/drawingml/2006/main" xmlns:r="http://schemas.openxmlformats.org/officeDocument/2006/relationships" xmlns:p="http://schemas.openxmlformats.org/presentationml/2006/main">
  <p:tag name="POWER_USER_TAGS_ICONS" val="solution*idea*innovation*bright*people*sharing*guiding*explaining*clarifying*contribution*contributing*puzzle*pieces*helping"/>
</p:tagLst>
</file>

<file path=ppt/tags/tag7.xml><?xml version="1.0" encoding="utf-8"?>
<p:tagLst xmlns:a="http://schemas.openxmlformats.org/drawingml/2006/main" xmlns:r="http://schemas.openxmlformats.org/officeDocument/2006/relationships" xmlns:p="http://schemas.openxmlformats.org/presentationml/2006/main">
  <p:tag name="POWER_USER_TAGS_ICONS" val="problem-based-learning_POWER_USER_SEPARATOR_ICONS_think_POWER_USER_SEPARATOR_ICONS_smart_POWER_USER_SEPARATOR_ICONS_recreation_POWER_USER_SEPARATOR_ICONS_puzzle_POWER_USER_SEPARATOR_ICONS_play_POWER_USER_SEPARATOR_ICONS_head_POWER_USER_SEPARATOR_ICONS_game_POWER_USER_SEPARATOR_ICONS_fun_POWER_USER_SEPARATOR_ICONS_challenge_POWER_USER_SEPARATOR_ICONS_thinking"/>
</p:tagLst>
</file>

<file path=ppt/tags/tag8.xml><?xml version="1.0" encoding="utf-8"?>
<p:tagLst xmlns:a="http://schemas.openxmlformats.org/drawingml/2006/main" xmlns:r="http://schemas.openxmlformats.org/officeDocument/2006/relationships" xmlns:p="http://schemas.openxmlformats.org/presentationml/2006/main">
  <p:tag name="POWER_USER_TAGS_ICONS" val="problem-based-learning_POWER_USER_SEPARATOR_ICONS_think_POWER_USER_SEPARATOR_ICONS_smart_POWER_USER_SEPARATOR_ICONS_recreation_POWER_USER_SEPARATOR_ICONS_puzzle_POWER_USER_SEPARATOR_ICONS_play_POWER_USER_SEPARATOR_ICONS_head_POWER_USER_SEPARATOR_ICONS_game_POWER_USER_SEPARATOR_ICONS_fun_POWER_USER_SEPARATOR_ICONS_challenge_POWER_USER_SEPARATOR_ICONS_thinking"/>
</p:tagLst>
</file>

<file path=ppt/tags/tag9.xml><?xml version="1.0" encoding="utf-8"?>
<p:tagLst xmlns:a="http://schemas.openxmlformats.org/drawingml/2006/main" xmlns:r="http://schemas.openxmlformats.org/officeDocument/2006/relationships" xmlns:p="http://schemas.openxmlformats.org/presentationml/2006/main">
  <p:tag name="POWER_USER_TAGS_ICONS" val="problem-based-learning_POWER_USER_SEPARATOR_ICONS_think_POWER_USER_SEPARATOR_ICONS_smart_POWER_USER_SEPARATOR_ICONS_recreation_POWER_USER_SEPARATOR_ICONS_puzzle_POWER_USER_SEPARATOR_ICONS_play_POWER_USER_SEPARATOR_ICONS_head_POWER_USER_SEPARATOR_ICONS_game_POWER_USER_SEPARATOR_ICONS_fun_POWER_USER_SEPARATOR_ICONS_challenge_POWER_USER_SEPARATOR_ICONS_thinking"/>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1FA76D212D650E47B107C36DD0FA7585" ma:contentTypeVersion="15" ma:contentTypeDescription="Create a new document." ma:contentTypeScope="" ma:versionID="97bae840e9b64c0f713c0ac166252b5a">
  <xsd:schema xmlns:xsd="http://www.w3.org/2001/XMLSchema" xmlns:xs="http://www.w3.org/2001/XMLSchema" xmlns:p="http://schemas.microsoft.com/office/2006/metadata/properties" xmlns:ns2="fc6451ab-d71d-40fd-8e96-4aa8f5203fac" xmlns:ns3="e456ab84-9158-46ed-b5c6-47e4b49a78c1" targetNamespace="http://schemas.microsoft.com/office/2006/metadata/properties" ma:root="true" ma:fieldsID="b2ec949e258825e7cb15449a290cbf45" ns2:_="" ns3:_="">
    <xsd:import namespace="fc6451ab-d71d-40fd-8e96-4aa8f5203fac"/>
    <xsd:import namespace="e456ab84-9158-46ed-b5c6-47e4b49a78c1"/>
    <xsd:element name="properties">
      <xsd:complexType>
        <xsd:sequence>
          <xsd:element name="documentManagement">
            <xsd:complexType>
              <xsd:all>
                <xsd:element ref="ns2:Comments"/>
                <xsd:element ref="ns2:MediaServiceMetadata" minOccurs="0"/>
                <xsd:element ref="ns2:MediaServiceFastMetadata" minOccurs="0"/>
                <xsd:element ref="ns2:MediaServiceDateTaken" minOccurs="0"/>
                <xsd:element ref="ns3:SharedWithUsers" minOccurs="0"/>
                <xsd:element ref="ns3:SharedWithDetails" minOccurs="0"/>
                <xsd:element ref="ns2:MediaServiceAutoTags" minOccurs="0"/>
                <xsd:element ref="ns2:MediaServiceOCR" minOccurs="0"/>
                <xsd:element ref="ns2:_Flow_SignoffStatus" minOccurs="0"/>
                <xsd:element ref="ns2:MediaServiceGenerationTime" minOccurs="0"/>
                <xsd:element ref="ns2:MediaServiceEventHashCode" minOccurs="0"/>
                <xsd:element ref="ns2:MediaServiceAutoKeyPoints" minOccurs="0"/>
                <xsd:element ref="ns2:MediaServiceKeyPoints"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c6451ab-d71d-40fd-8e96-4aa8f5203fac" elementFormDefault="qualified">
    <xsd:import namespace="http://schemas.microsoft.com/office/2006/documentManagement/types"/>
    <xsd:import namespace="http://schemas.microsoft.com/office/infopath/2007/PartnerControls"/>
    <xsd:element name="Comments" ma:index="2" ma:displayName="Comments" ma:format="Dropdown" ma:internalName="Comments" ma:readOnly="false">
      <xsd:simpleType>
        <xsd:restriction base="dms:Note">
          <xsd:maxLength value="255"/>
        </xsd:restriction>
      </xsd:simpleType>
    </xsd:element>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Tags" ma:index="13" nillable="true" ma:displayName="MediaServiceAutoTags" ma:hidden="true" ma:internalName="MediaServiceAutoTags" ma:readOnly="true">
      <xsd:simpleType>
        <xsd:restriction base="dms:Text"/>
      </xsd:simpleType>
    </xsd:element>
    <xsd:element name="MediaServiceOCR" ma:index="14" nillable="true" ma:displayName="MediaServiceOCR" ma:hidden="true" ma:internalName="MediaServiceOCR" ma:readOnly="true">
      <xsd:simpleType>
        <xsd:restriction base="dms:Note"/>
      </xsd:simpleType>
    </xsd:element>
    <xsd:element name="_Flow_SignoffStatus" ma:index="15" nillable="true" ma:displayName="Sign-off status" ma:hidden="true" ma:internalName="_x0024_Resources_x003a_core_x002c_Signoff_Status_x003b_" ma:readOnly="false">
      <xsd:simpleType>
        <xsd:restriction base="dms:Text"/>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AutoKeyPoints" ma:index="18" nillable="true" ma:displayName="MediaServiceAutoKeyPoints" ma:hidden="true" ma:internalName="MediaServiceAutoKeyPoints" ma:readOnly="true">
      <xsd:simpleType>
        <xsd:restriction base="dms:Note"/>
      </xsd:simpleType>
    </xsd:element>
    <xsd:element name="MediaServiceKeyPoints" ma:index="19" nillable="true" ma:displayName="KeyPoints" ma:hidden="true" ma:internalName="MediaServiceKeyPoints" ma:readOnly="true">
      <xsd:simpleType>
        <xsd:restriction base="dms:Note"/>
      </xsd:simpleType>
    </xsd:element>
    <xsd:element name="MediaLengthInSeconds" ma:index="21" nillable="true" ma:displayName="Length (seconds)"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e456ab84-9158-46ed-b5c6-47e4b49a78c1" elementFormDefault="qualified">
    <xsd:import namespace="http://schemas.microsoft.com/office/2006/documentManagement/types"/>
    <xsd:import namespace="http://schemas.microsoft.com/office/infopath/2007/PartnerControls"/>
    <xsd:element name="SharedWithUsers" ma:index="11" nillable="true" ma:displayName="Shared With" ma:hidden="true"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2" nillable="true" ma:displayName="Shared With Details" ma:hidden="true" ma:internalName="SharedWithDetails"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displayName="Content Type"/>
        <xsd:element ref="dc:title" minOccurs="0" maxOccurs="1" ma:index="1"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_Flow_SignoffStatus xmlns="fc6451ab-d71d-40fd-8e96-4aa8f5203fac" xsi:nil="true"/>
    <Comments xmlns="fc6451ab-d71d-40fd-8e96-4aa8f5203fac">No comments.</Comments>
  </documentManagement>
</p:properties>
</file>

<file path=customXml/itemProps1.xml><?xml version="1.0" encoding="utf-8"?>
<ds:datastoreItem xmlns:ds="http://schemas.openxmlformats.org/officeDocument/2006/customXml" ds:itemID="{B7108E14-6F5E-4110-96C3-85DABC144EC9}"/>
</file>

<file path=customXml/itemProps2.xml><?xml version="1.0" encoding="utf-8"?>
<ds:datastoreItem xmlns:ds="http://schemas.openxmlformats.org/officeDocument/2006/customXml" ds:itemID="{28C55E3E-2260-491D-89DE-725AD5321D41}">
  <ds:schemaRefs>
    <ds:schemaRef ds:uri="http://schemas.microsoft.com/sharepoint/v3/contenttype/forms"/>
  </ds:schemaRefs>
</ds:datastoreItem>
</file>

<file path=customXml/itemProps3.xml><?xml version="1.0" encoding="utf-8"?>
<ds:datastoreItem xmlns:ds="http://schemas.openxmlformats.org/officeDocument/2006/customXml" ds:itemID="{80E5287D-AC16-4D65-B947-41BFEC92B737}">
  <ds:schemaRefs>
    <ds:schemaRef ds:uri="http://purl.org/dc/terms/"/>
    <ds:schemaRef ds:uri="http://schemas.openxmlformats.org/package/2006/metadata/core-properties"/>
    <ds:schemaRef ds:uri="http://schemas.microsoft.com/office/2006/documentManagement/types"/>
    <ds:schemaRef ds:uri="http://purl.org/dc/dcmitype/"/>
    <ds:schemaRef ds:uri="http://schemas.microsoft.com/office/infopath/2007/PartnerControls"/>
    <ds:schemaRef ds:uri="http://purl.org/dc/elements/1.1/"/>
    <ds:schemaRef ds:uri="http://schemas.microsoft.com/office/2006/metadata/properties"/>
    <ds:schemaRef ds:uri="e456ab84-9158-46ed-b5c6-47e4b49a78c1"/>
    <ds:schemaRef ds:uri="fc6451ab-d71d-40fd-8e96-4aa8f5203fac"/>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otalTime>86</TotalTime>
  <Words>864</Words>
  <Application>Microsoft Office PowerPoint</Application>
  <PresentationFormat>Widescreen</PresentationFormat>
  <Paragraphs>136</Paragraphs>
  <Slides>7</Slides>
  <Notes>6</Notes>
  <HiddenSlides>0</HiddenSlides>
  <MMClips>0</MMClips>
  <ScaleCrop>false</ScaleCrop>
  <HeadingPairs>
    <vt:vector size="6" baseType="variant">
      <vt:variant>
        <vt:lpstr>Fonts Used</vt:lpstr>
      </vt:variant>
      <vt:variant>
        <vt:i4>5</vt:i4>
      </vt:variant>
      <vt:variant>
        <vt:lpstr>Theme</vt:lpstr>
      </vt:variant>
      <vt:variant>
        <vt:i4>1</vt:i4>
      </vt:variant>
      <vt:variant>
        <vt:lpstr>Slide Titles</vt:lpstr>
      </vt:variant>
      <vt:variant>
        <vt:i4>7</vt:i4>
      </vt:variant>
    </vt:vector>
  </HeadingPairs>
  <TitlesOfParts>
    <vt:vector size="13" baseType="lpstr">
      <vt:lpstr>Times New Roman</vt:lpstr>
      <vt:lpstr>Calibri</vt:lpstr>
      <vt:lpstr>Arial</vt:lpstr>
      <vt:lpstr>Verdana</vt:lpstr>
      <vt:lpstr>Calibri Light</vt:lpstr>
      <vt:lpstr>Office Theme</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Everis</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TTM18 - process puzzle</dc:title>
  <cp:lastModifiedBy>Juan Alvarez</cp:lastModifiedBy>
  <cp:revision>1</cp:revision>
  <dcterms:created xsi:type="dcterms:W3CDTF">2020-11-05T08:21:11Z</dcterms:created>
  <dcterms:modified xsi:type="dcterms:W3CDTF">2021-07-14T13:01:0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ArticulateGUID">
    <vt:lpwstr>DE3AE9D0-2AD1-4067-B3E3-3ACF4514A58F</vt:lpwstr>
  </property>
  <property fmtid="{D5CDD505-2E9C-101B-9397-08002B2CF9AE}" pid="3" name="ArticulatePath">
    <vt:lpwstr>Templates</vt:lpwstr>
  </property>
  <property fmtid="{D5CDD505-2E9C-101B-9397-08002B2CF9AE}" pid="4" name="ContentTypeId">
    <vt:lpwstr>0x0101001FA76D212D650E47B107C36DD0FA7585</vt:lpwstr>
  </property>
</Properties>
</file>